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257" r:id="rId2"/>
    <p:sldId id="259" r:id="rId3"/>
    <p:sldId id="327" r:id="rId4"/>
    <p:sldId id="328" r:id="rId5"/>
    <p:sldId id="329" r:id="rId6"/>
    <p:sldId id="330" r:id="rId7"/>
    <p:sldId id="331" r:id="rId8"/>
    <p:sldId id="258" r:id="rId9"/>
    <p:sldId id="293" r:id="rId10"/>
    <p:sldId id="335" r:id="rId11"/>
    <p:sldId id="336" r:id="rId12"/>
    <p:sldId id="337" r:id="rId13"/>
    <p:sldId id="338" r:id="rId14"/>
    <p:sldId id="339" r:id="rId15"/>
    <p:sldId id="284" r:id="rId16"/>
  </p:sldIdLst>
  <p:sldSz cx="9144000" cy="6858000" type="screen4x3"/>
  <p:notesSz cx="6881813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86" d="100"/>
          <a:sy n="86" d="100"/>
        </p:scale>
        <p:origin x="1482" y="4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10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E60DE691-F4B4-416D-8AE0-7984E50359A6}" type="datetimeFigureOut">
              <a:rPr lang="en-US" smtClean="0"/>
              <a:t>4/1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50963" y="1162050"/>
            <a:ext cx="4179887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73892"/>
            <a:ext cx="5505450" cy="3660458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1934191E-5375-4694-99D7-20D11BD5CF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7825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62462-97AF-42A8-B4D5-18ABA84CD83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/04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7200" y="3573016"/>
            <a:ext cx="8254800" cy="1584176"/>
            <a:chOff x="457200" y="836712"/>
            <a:chExt cx="8254460" cy="288032"/>
          </a:xfrm>
        </p:grpSpPr>
        <p:sp>
          <p:nvSpPr>
            <p:cNvPr id="9" name="Rectangle 8"/>
            <p:cNvSpPr/>
            <p:nvPr/>
          </p:nvSpPr>
          <p:spPr>
            <a:xfrm>
              <a:off x="457200" y="836712"/>
              <a:ext cx="576000" cy="288032"/>
            </a:xfrm>
            <a:prstGeom prst="rect">
              <a:avLst/>
            </a:prstGeom>
            <a:solidFill>
              <a:srgbClr val="DD2E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033200" y="836712"/>
              <a:ext cx="72000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05200" y="836712"/>
              <a:ext cx="7606460" cy="28803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87625" y="3573016"/>
            <a:ext cx="7416824" cy="1584176"/>
          </a:xfrm>
        </p:spPr>
        <p:txBody>
          <a:bodyPr anchor="ctr">
            <a:normAutofit/>
          </a:bodyPr>
          <a:lstStyle>
            <a:lvl1pPr marL="0" indent="0" algn="ctr">
              <a:buNone/>
              <a:defRPr sz="225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2364" y="1965949"/>
            <a:ext cx="3319272" cy="1236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019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8A2593-67FF-45BB-81F3-CD0A99BCE37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/04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5595510"/>
            <a:ext cx="1828800" cy="681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578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3729" y="116632"/>
            <a:ext cx="6840760" cy="720080"/>
          </a:xfrm>
        </p:spPr>
        <p:txBody>
          <a:bodyPr>
            <a:normAutofit/>
          </a:bodyPr>
          <a:lstStyle>
            <a:lvl1pPr>
              <a:defRPr sz="1500" b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17FFC-6A28-42A8-9B06-94C4DC870E8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/04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908720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944724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512" y="6354032"/>
            <a:ext cx="9180000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94" y="134483"/>
            <a:ext cx="1828800" cy="681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946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78982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C933D-7433-40C4-AC84-501B60B0802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/04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7667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635377"/>
            <a:ext cx="7280564" cy="14700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B7E348-C86F-4773-8440-5EDDE4FBC6C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/04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0FF7CF-E33E-4049-90E1-9B1F10407C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942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599"/>
            <a:ext cx="8229600" cy="533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86000"/>
            <a:ext cx="8229600" cy="39624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AB5E0-33CE-429A-9737-F801A477D30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/04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0FF7CF-E33E-4049-90E1-9B1F10407C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581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635377"/>
            <a:ext cx="7280564" cy="14700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EE98C-E629-40B4-B150-81B68EF0A08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/04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0FF7CF-E33E-4049-90E1-9B1F10407C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001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C5CBDE0B-78AD-4AA4-B485-15101583202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/04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7200" y="2708920"/>
            <a:ext cx="8257032" cy="1188720"/>
            <a:chOff x="457200" y="836712"/>
            <a:chExt cx="8254460" cy="288032"/>
          </a:xfrm>
        </p:grpSpPr>
        <p:sp>
          <p:nvSpPr>
            <p:cNvPr id="9" name="Rectangle 8"/>
            <p:cNvSpPr/>
            <p:nvPr/>
          </p:nvSpPr>
          <p:spPr>
            <a:xfrm>
              <a:off x="457200" y="836712"/>
              <a:ext cx="576000" cy="265876"/>
            </a:xfrm>
            <a:prstGeom prst="rect">
              <a:avLst/>
            </a:prstGeom>
            <a:solidFill>
              <a:srgbClr val="DD2E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033200" y="836712"/>
              <a:ext cx="72000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05200" y="836712"/>
              <a:ext cx="7606460" cy="26587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87625" y="2708920"/>
            <a:ext cx="7416824" cy="109728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25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204" y="5680437"/>
            <a:ext cx="1554480" cy="578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739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8C27AD-FD31-4088-923E-EC31E5CC9A1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/04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6381328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6417332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 userDrawn="1"/>
        </p:nvGrpSpPr>
        <p:grpSpPr>
          <a:xfrm>
            <a:off x="113650" y="124926"/>
            <a:ext cx="9053214" cy="801795"/>
            <a:chOff x="311971" y="2002064"/>
            <a:chExt cx="9053214" cy="801795"/>
          </a:xfrm>
        </p:grpSpPr>
        <p:pic>
          <p:nvPicPr>
            <p:cNvPr id="10" name="Picture 10"/>
            <p:cNvPicPr>
              <a:picLocks noChangeAspect="1" noChangeArrowheads="1"/>
            </p:cNvPicPr>
            <p:nvPr userDrawn="1"/>
          </p:nvPicPr>
          <p:blipFill rotWithShape="1">
            <a:blip r:embed="rId2" cstate="print"/>
            <a:srcRect l="21739" b="2801"/>
            <a:stretch/>
          </p:blipFill>
          <p:spPr bwMode="auto">
            <a:xfrm>
              <a:off x="2237591" y="2002064"/>
              <a:ext cx="7127594" cy="8017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" name="Picture 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971" y="2062452"/>
              <a:ext cx="1828800" cy="6810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395348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009CD7-652F-4648-B8E7-F3E017DC2BC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/04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6381328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6417332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 userDrawn="1"/>
        </p:nvGrpSpPr>
        <p:grpSpPr>
          <a:xfrm>
            <a:off x="72000" y="135401"/>
            <a:ext cx="9072000" cy="722214"/>
            <a:chOff x="72000" y="1168146"/>
            <a:chExt cx="9072000" cy="722214"/>
          </a:xfrm>
        </p:grpSpPr>
        <p:pic>
          <p:nvPicPr>
            <p:cNvPr id="11" name="Picture 8"/>
            <p:cNvPicPr>
              <a:picLocks noChangeAspect="1" noChangeArrowheads="1"/>
            </p:cNvPicPr>
            <p:nvPr/>
          </p:nvPicPr>
          <p:blipFill>
            <a:blip r:embed="rId2" cstate="print"/>
            <a:srcRect t="9408" b="12033"/>
            <a:stretch>
              <a:fillRect/>
            </a:stretch>
          </p:blipFill>
          <p:spPr bwMode="auto">
            <a:xfrm>
              <a:off x="72000" y="1168146"/>
              <a:ext cx="9072000" cy="722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12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820" y="1188744"/>
              <a:ext cx="1828800" cy="6810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50741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124000" y="120400"/>
            <a:ext cx="7020000" cy="720000"/>
          </a:xfrm>
          <a:prstGeom prst="rect">
            <a:avLst/>
          </a:prstGeom>
          <a:gradFill>
            <a:gsLst>
              <a:gs pos="0">
                <a:srgbClr val="960000"/>
              </a:gs>
              <a:gs pos="39999">
                <a:srgbClr val="B40000">
                  <a:alpha val="89804"/>
                </a:srgbClr>
              </a:gs>
              <a:gs pos="70000">
                <a:srgbClr val="BC0000"/>
              </a:gs>
              <a:gs pos="100000">
                <a:srgbClr val="F200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3729" y="116632"/>
            <a:ext cx="6840760" cy="720080"/>
          </a:xfrm>
        </p:spPr>
        <p:txBody>
          <a:bodyPr>
            <a:normAutofit/>
          </a:bodyPr>
          <a:lstStyle>
            <a:lvl1pPr>
              <a:defRPr sz="1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98AD86-8239-4EAB-AC4C-9E1CE24B66E1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/04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6345324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6381328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1" y="137896"/>
            <a:ext cx="1810669" cy="719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48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2124000" y="109810"/>
            <a:ext cx="7020000" cy="720000"/>
            <a:chOff x="1331640" y="3068960"/>
            <a:chExt cx="7020000" cy="720000"/>
          </a:xfrm>
        </p:grpSpPr>
        <p:sp>
          <p:nvSpPr>
            <p:cNvPr id="11" name="Rectangle 10"/>
            <p:cNvSpPr/>
            <p:nvPr/>
          </p:nvSpPr>
          <p:spPr>
            <a:xfrm>
              <a:off x="1331640" y="3068960"/>
              <a:ext cx="7020000" cy="720000"/>
            </a:xfrm>
            <a:prstGeom prst="rect">
              <a:avLst/>
            </a:prstGeom>
            <a:gradFill>
              <a:gsLst>
                <a:gs pos="0">
                  <a:srgbClr val="960000"/>
                </a:gs>
                <a:gs pos="39999">
                  <a:srgbClr val="B40000">
                    <a:alpha val="89804"/>
                  </a:srgbClr>
                </a:gs>
                <a:gs pos="70000">
                  <a:srgbClr val="BC0000"/>
                </a:gs>
                <a:gs pos="100000">
                  <a:srgbClr val="F20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>
                <a:solidFill>
                  <a:prstClr val="white"/>
                </a:solidFill>
              </a:endParaRPr>
            </a:p>
          </p:txBody>
        </p:sp>
        <p:sp>
          <p:nvSpPr>
            <p:cNvPr id="13" name="Right Triangle 12"/>
            <p:cNvSpPr>
              <a:spLocks noChangeAspect="1"/>
            </p:cNvSpPr>
            <p:nvPr/>
          </p:nvSpPr>
          <p:spPr>
            <a:xfrm>
              <a:off x="1331640" y="3068960"/>
              <a:ext cx="565116" cy="72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7745" y="116632"/>
            <a:ext cx="6840760" cy="720080"/>
          </a:xfrm>
        </p:spPr>
        <p:txBody>
          <a:bodyPr>
            <a:normAutofit/>
          </a:bodyPr>
          <a:lstStyle>
            <a:lvl1pPr>
              <a:defRPr sz="1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CDD7B-8795-4A80-B434-BC525C02A8A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/04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6345324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6381328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94" y="155999"/>
            <a:ext cx="1828800" cy="681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761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3658552" cy="68580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58552" y="0"/>
            <a:ext cx="5486400" cy="6858000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251520" y="950199"/>
            <a:ext cx="2808312" cy="23021"/>
            <a:chOff x="251520" y="1412776"/>
            <a:chExt cx="2808312" cy="23021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251520" y="1412776"/>
              <a:ext cx="2808312" cy="0"/>
            </a:xfrm>
            <a:prstGeom prst="line">
              <a:avLst/>
            </a:prstGeom>
            <a:ln w="31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251520" y="1435797"/>
              <a:ext cx="2808312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6018294"/>
            <a:ext cx="1097280" cy="408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37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572001" y="0"/>
            <a:ext cx="4568552" cy="68580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-64" y="0"/>
            <a:ext cx="4572064" cy="6858000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4788025" y="908738"/>
            <a:ext cx="3960440" cy="35559"/>
            <a:chOff x="251520" y="1412776"/>
            <a:chExt cx="2808312" cy="17905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251520" y="1412776"/>
              <a:ext cx="2808312" cy="0"/>
            </a:xfrm>
            <a:prstGeom prst="line">
              <a:avLst/>
            </a:prstGeom>
            <a:ln w="31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251520" y="1430681"/>
              <a:ext cx="2808312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2006" y="6018294"/>
            <a:ext cx="1097280" cy="408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414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448" y="0"/>
            <a:ext cx="4568552" cy="68580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64" cy="6858000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219472" y="908738"/>
            <a:ext cx="3960440" cy="35559"/>
            <a:chOff x="251520" y="1412776"/>
            <a:chExt cx="2808312" cy="17905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251520" y="1412776"/>
              <a:ext cx="2808312" cy="0"/>
            </a:xfrm>
            <a:prstGeom prst="line">
              <a:avLst/>
            </a:prstGeom>
            <a:ln w="31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251520" y="1430681"/>
              <a:ext cx="2808312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6018294"/>
            <a:ext cx="1097280" cy="408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50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E08A2593-67FF-45BB-81F3-CD0A99BCE37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/04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844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6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slideLayout" Target="../slideLayouts/slideLayout4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image" Target="../media/image10.jpeg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0" Type="http://schemas.openxmlformats.org/officeDocument/2006/relationships/tags" Target="../tags/tag20.xml"/><Relationship Id="rId41" Type="http://schemas.openxmlformats.org/officeDocument/2006/relationships/tags" Target="../tags/tag4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jpe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187625" y="3573016"/>
            <a:ext cx="6900461" cy="1584176"/>
          </a:xfrm>
        </p:spPr>
        <p:txBody>
          <a:bodyPr>
            <a:norm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GB" sz="2800" dirty="0" smtClean="0"/>
              <a:t>AFEX Nigeria Update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en-GB" sz="1800" dirty="0" smtClean="0"/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GB" sz="2000" dirty="0" smtClean="0"/>
              <a:t>Capital Markets Committee Meeting – April 2016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6739" y="1899632"/>
            <a:ext cx="3837986" cy="130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765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1800" dirty="0" smtClean="0"/>
              <a:t> State Partnership Objectives </a:t>
            </a:r>
            <a:endParaRPr lang="en-US" sz="1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670560" y="1776153"/>
            <a:ext cx="7813962" cy="864524"/>
            <a:chOff x="676102" y="1903614"/>
            <a:chExt cx="7509162" cy="864524"/>
          </a:xfrm>
        </p:grpSpPr>
        <p:sp>
          <p:nvSpPr>
            <p:cNvPr id="4" name="Oval 3"/>
            <p:cNvSpPr/>
            <p:nvPr/>
          </p:nvSpPr>
          <p:spPr>
            <a:xfrm>
              <a:off x="676102" y="1950720"/>
              <a:ext cx="775854" cy="770313"/>
            </a:xfrm>
            <a:prstGeom prst="ellipse">
              <a:avLst/>
            </a:prstGeom>
            <a:solidFill>
              <a:srgbClr val="C00000"/>
            </a:solidFill>
            <a:ln w="762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Pentagon 4"/>
            <p:cNvSpPr/>
            <p:nvPr/>
          </p:nvSpPr>
          <p:spPr>
            <a:xfrm flipH="1">
              <a:off x="1119447" y="1903614"/>
              <a:ext cx="7065817" cy="864524"/>
            </a:xfrm>
            <a:prstGeom prst="homePlat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1712421" y="1956263"/>
            <a:ext cx="65683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roved Access to Input &amp; Education</a:t>
            </a:r>
            <a:endParaRPr lang="en-US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653935" y="3059083"/>
            <a:ext cx="7813962" cy="864524"/>
            <a:chOff x="676102" y="1903614"/>
            <a:chExt cx="7509162" cy="864524"/>
          </a:xfrm>
        </p:grpSpPr>
        <p:sp>
          <p:nvSpPr>
            <p:cNvPr id="10" name="Oval 9"/>
            <p:cNvSpPr/>
            <p:nvPr/>
          </p:nvSpPr>
          <p:spPr>
            <a:xfrm>
              <a:off x="676102" y="1950720"/>
              <a:ext cx="775854" cy="770313"/>
            </a:xfrm>
            <a:prstGeom prst="ellipse">
              <a:avLst/>
            </a:prstGeom>
            <a:solidFill>
              <a:srgbClr val="C00000"/>
            </a:solidFill>
            <a:ln w="762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Pentagon 10"/>
            <p:cNvSpPr/>
            <p:nvPr/>
          </p:nvSpPr>
          <p:spPr>
            <a:xfrm flipH="1">
              <a:off x="1119447" y="1903614"/>
              <a:ext cx="7065817" cy="864524"/>
            </a:xfrm>
            <a:prstGeom prst="homePlat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1695795" y="3239193"/>
            <a:ext cx="71911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uaranteed Markets with Price Transparency</a:t>
            </a:r>
            <a:endParaRPr lang="en-US" sz="23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81396" y="1956260"/>
            <a:ext cx="5320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en-US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84163" y="3255820"/>
            <a:ext cx="5320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37310" y="4342013"/>
            <a:ext cx="8288385" cy="864524"/>
            <a:chOff x="637310" y="4342013"/>
            <a:chExt cx="8288385" cy="864524"/>
          </a:xfrm>
        </p:grpSpPr>
        <p:grpSp>
          <p:nvGrpSpPr>
            <p:cNvPr id="13" name="Group 12"/>
            <p:cNvGrpSpPr/>
            <p:nvPr/>
          </p:nvGrpSpPr>
          <p:grpSpPr>
            <a:xfrm>
              <a:off x="637310" y="4342013"/>
              <a:ext cx="7813962" cy="864524"/>
              <a:chOff x="676102" y="1903614"/>
              <a:chExt cx="7509162" cy="864524"/>
            </a:xfrm>
          </p:grpSpPr>
          <p:sp>
            <p:nvSpPr>
              <p:cNvPr id="14" name="Oval 13"/>
              <p:cNvSpPr/>
              <p:nvPr/>
            </p:nvSpPr>
            <p:spPr>
              <a:xfrm>
                <a:off x="676102" y="1950720"/>
                <a:ext cx="775854" cy="770313"/>
              </a:xfrm>
              <a:prstGeom prst="ellipse">
                <a:avLst/>
              </a:prstGeom>
              <a:solidFill>
                <a:srgbClr val="C00000"/>
              </a:solidFill>
              <a:ln w="762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Pentagon 14"/>
              <p:cNvSpPr/>
              <p:nvPr/>
            </p:nvSpPr>
            <p:spPr>
              <a:xfrm flipH="1">
                <a:off x="1119447" y="1903614"/>
                <a:ext cx="7065817" cy="864524"/>
              </a:xfrm>
              <a:prstGeom prst="homePlat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679171" y="4522123"/>
              <a:ext cx="724652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2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rice Stabilization – Guaranteed Minimum Price</a:t>
              </a:r>
              <a:endParaRPr lang="en-US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75846" y="4538754"/>
              <a:ext cx="53201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3</a:t>
              </a:r>
              <a:endPara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" y="131368"/>
            <a:ext cx="2085527" cy="70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596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51520" y="207031"/>
            <a:ext cx="30243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Short to Medium Term Goals</a:t>
            </a:r>
            <a:endParaRPr lang="en-US" sz="2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1520" y="1096743"/>
            <a:ext cx="2880320" cy="48197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1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Reach 100,000 smallholder </a:t>
            </a:r>
            <a:r>
              <a:rPr lang="en-US" dirty="0" smtClean="0">
                <a:latin typeface="Century Gothic" panose="020B0502020202020204" pitchFamily="34" charset="0"/>
              </a:rPr>
              <a:t>farmers, grow to 225,000 in 3 years</a:t>
            </a:r>
            <a:endParaRPr lang="en-US" dirty="0">
              <a:latin typeface="Century Gothic" panose="020B0502020202020204" pitchFamily="34" charset="0"/>
            </a:endParaRPr>
          </a:p>
          <a:p>
            <a:pPr marL="171450" indent="-171450">
              <a:lnSpc>
                <a:spcPct val="11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dirty="0" smtClean="0">
                <a:latin typeface="Century Gothic" panose="020B0502020202020204" pitchFamily="34" charset="0"/>
              </a:rPr>
              <a:t>Increase </a:t>
            </a:r>
            <a:r>
              <a:rPr lang="en-US" dirty="0">
                <a:latin typeface="Century Gothic" panose="020B0502020202020204" pitchFamily="34" charset="0"/>
              </a:rPr>
              <a:t>farmer realized revenue per metric ton by 20% of baseline farm-gate price by </a:t>
            </a:r>
            <a:r>
              <a:rPr lang="en-US" dirty="0" smtClean="0">
                <a:latin typeface="Century Gothic" panose="020B0502020202020204" pitchFamily="34" charset="0"/>
              </a:rPr>
              <a:t>2016</a:t>
            </a:r>
            <a:endParaRPr lang="en-US" dirty="0">
              <a:latin typeface="Century Gothic" panose="020B0502020202020204" pitchFamily="34" charset="0"/>
            </a:endParaRPr>
          </a:p>
          <a:p>
            <a:pPr marL="171450" indent="-171450">
              <a:lnSpc>
                <a:spcPct val="11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Improve bag-to-bulk transaction </a:t>
            </a:r>
            <a:r>
              <a:rPr lang="en-US" dirty="0" smtClean="0">
                <a:latin typeface="Century Gothic" panose="020B0502020202020204" pitchFamily="34" charset="0"/>
              </a:rPr>
              <a:t>efficiency - achieve $25 per MT </a:t>
            </a:r>
            <a:r>
              <a:rPr lang="en-US" dirty="0">
                <a:latin typeface="Century Gothic" panose="020B0502020202020204" pitchFamily="34" charset="0"/>
              </a:rPr>
              <a:t>by </a:t>
            </a:r>
            <a:r>
              <a:rPr lang="en-US" dirty="0" smtClean="0">
                <a:latin typeface="Century Gothic" panose="020B0502020202020204" pitchFamily="34" charset="0"/>
              </a:rPr>
              <a:t>2017</a:t>
            </a:r>
            <a:endParaRPr lang="en-US" dirty="0">
              <a:latin typeface="Century Gothic" panose="020B0502020202020204" pitchFamily="34" charset="0"/>
            </a:endParaRPr>
          </a:p>
          <a:p>
            <a:pPr>
              <a:lnSpc>
                <a:spcPct val="110000"/>
              </a:lnSpc>
              <a:spcBef>
                <a:spcPts val="1200"/>
              </a:spcBef>
            </a:pPr>
            <a:endParaRPr lang="en-US" b="1" dirty="0">
              <a:latin typeface="Century Gothic" panose="020B0502020202020204" pitchFamily="34" charset="0"/>
            </a:endParaRPr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5927" r="5927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901543" y="6453337"/>
            <a:ext cx="20629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FMARD </a:t>
            </a:r>
            <a:r>
              <a:rPr lang="en-US" sz="1000" dirty="0" err="1" smtClean="0"/>
              <a:t>Zamfara</a:t>
            </a:r>
            <a:r>
              <a:rPr lang="en-US" sz="1000" dirty="0" smtClean="0"/>
              <a:t> Silo Complex</a:t>
            </a:r>
            <a:endParaRPr lang="en-US" sz="10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676" y="5985122"/>
            <a:ext cx="1905673" cy="872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53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28554" y="967956"/>
            <a:ext cx="6675694" cy="5113834"/>
            <a:chOff x="181974" y="651649"/>
            <a:chExt cx="5975622" cy="4577552"/>
          </a:xfrm>
        </p:grpSpPr>
        <p:sp>
          <p:nvSpPr>
            <p:cNvPr id="24" name="Freeform 2"/>
            <p:cNvSpPr>
              <a:spLocks/>
            </p:cNvSpPr>
            <p:nvPr/>
          </p:nvSpPr>
          <p:spPr bwMode="gray">
            <a:xfrm>
              <a:off x="4517387" y="2073677"/>
              <a:ext cx="1154321" cy="1649246"/>
            </a:xfrm>
            <a:custGeom>
              <a:avLst/>
              <a:gdLst>
                <a:gd name="T0" fmla="*/ 2147483647 w 822"/>
                <a:gd name="T1" fmla="*/ 2147483647 h 1236"/>
                <a:gd name="T2" fmla="*/ 2147483647 w 822"/>
                <a:gd name="T3" fmla="*/ 2147483647 h 1236"/>
                <a:gd name="T4" fmla="*/ 2147483647 w 822"/>
                <a:gd name="T5" fmla="*/ 2147483647 h 1236"/>
                <a:gd name="T6" fmla="*/ 2147483647 w 822"/>
                <a:gd name="T7" fmla="*/ 2147483647 h 1236"/>
                <a:gd name="T8" fmla="*/ 2147483647 w 822"/>
                <a:gd name="T9" fmla="*/ 2147483647 h 1236"/>
                <a:gd name="T10" fmla="*/ 2147483647 w 822"/>
                <a:gd name="T11" fmla="*/ 2147483647 h 1236"/>
                <a:gd name="T12" fmla="*/ 2147483647 w 822"/>
                <a:gd name="T13" fmla="*/ 2147483647 h 1236"/>
                <a:gd name="T14" fmla="*/ 2147483647 w 822"/>
                <a:gd name="T15" fmla="*/ 2147483647 h 1236"/>
                <a:gd name="T16" fmla="*/ 2147483647 w 822"/>
                <a:gd name="T17" fmla="*/ 2147483647 h 1236"/>
                <a:gd name="T18" fmla="*/ 2147483647 w 822"/>
                <a:gd name="T19" fmla="*/ 2147483647 h 1236"/>
                <a:gd name="T20" fmla="*/ 2147483647 w 822"/>
                <a:gd name="T21" fmla="*/ 2147483647 h 1236"/>
                <a:gd name="T22" fmla="*/ 2147483647 w 822"/>
                <a:gd name="T23" fmla="*/ 2147483647 h 1236"/>
                <a:gd name="T24" fmla="*/ 2147483647 w 822"/>
                <a:gd name="T25" fmla="*/ 2147483647 h 1236"/>
                <a:gd name="T26" fmla="*/ 2147483647 w 822"/>
                <a:gd name="T27" fmla="*/ 2147483647 h 1236"/>
                <a:gd name="T28" fmla="*/ 2147483647 w 822"/>
                <a:gd name="T29" fmla="*/ 2147483647 h 1236"/>
                <a:gd name="T30" fmla="*/ 2147483647 w 822"/>
                <a:gd name="T31" fmla="*/ 2147483647 h 1236"/>
                <a:gd name="T32" fmla="*/ 2147483647 w 822"/>
                <a:gd name="T33" fmla="*/ 2147483647 h 1236"/>
                <a:gd name="T34" fmla="*/ 2147483647 w 822"/>
                <a:gd name="T35" fmla="*/ 2147483647 h 1236"/>
                <a:gd name="T36" fmla="*/ 2147483647 w 822"/>
                <a:gd name="T37" fmla="*/ 2147483647 h 1236"/>
                <a:gd name="T38" fmla="*/ 2147483647 w 822"/>
                <a:gd name="T39" fmla="*/ 2147483647 h 1236"/>
                <a:gd name="T40" fmla="*/ 2147483647 w 822"/>
                <a:gd name="T41" fmla="*/ 2147483647 h 1236"/>
                <a:gd name="T42" fmla="*/ 2147483647 w 822"/>
                <a:gd name="T43" fmla="*/ 2147483647 h 1236"/>
                <a:gd name="T44" fmla="*/ 2147483647 w 822"/>
                <a:gd name="T45" fmla="*/ 2147483647 h 1236"/>
                <a:gd name="T46" fmla="*/ 2147483647 w 822"/>
                <a:gd name="T47" fmla="*/ 2147483647 h 1236"/>
                <a:gd name="T48" fmla="*/ 2147483647 w 822"/>
                <a:gd name="T49" fmla="*/ 2147483647 h 1236"/>
                <a:gd name="T50" fmla="*/ 2147483647 w 822"/>
                <a:gd name="T51" fmla="*/ 2147483647 h 1236"/>
                <a:gd name="T52" fmla="*/ 2147483647 w 822"/>
                <a:gd name="T53" fmla="*/ 2147483647 h 1236"/>
                <a:gd name="T54" fmla="*/ 2147483647 w 822"/>
                <a:gd name="T55" fmla="*/ 2147483647 h 1236"/>
                <a:gd name="T56" fmla="*/ 2147483647 w 822"/>
                <a:gd name="T57" fmla="*/ 2147483647 h 1236"/>
                <a:gd name="T58" fmla="*/ 2147483647 w 822"/>
                <a:gd name="T59" fmla="*/ 2147483647 h 1236"/>
                <a:gd name="T60" fmla="*/ 2147483647 w 822"/>
                <a:gd name="T61" fmla="*/ 2147483647 h 1236"/>
                <a:gd name="T62" fmla="*/ 2147483647 w 822"/>
                <a:gd name="T63" fmla="*/ 2147483647 h 1236"/>
                <a:gd name="T64" fmla="*/ 2147483647 w 822"/>
                <a:gd name="T65" fmla="*/ 2147483647 h 1236"/>
                <a:gd name="T66" fmla="*/ 2147483647 w 822"/>
                <a:gd name="T67" fmla="*/ 2147483647 h 1236"/>
                <a:gd name="T68" fmla="*/ 2147483647 w 822"/>
                <a:gd name="T69" fmla="*/ 2147483647 h 1236"/>
                <a:gd name="T70" fmla="*/ 2147483647 w 822"/>
                <a:gd name="T71" fmla="*/ 2147483647 h 1236"/>
                <a:gd name="T72" fmla="*/ 2147483647 w 822"/>
                <a:gd name="T73" fmla="*/ 2147483647 h 1236"/>
                <a:gd name="T74" fmla="*/ 2147483647 w 822"/>
                <a:gd name="T75" fmla="*/ 2147483647 h 1236"/>
                <a:gd name="T76" fmla="*/ 2147483647 w 822"/>
                <a:gd name="T77" fmla="*/ 2147483647 h 1236"/>
                <a:gd name="T78" fmla="*/ 2147483647 w 822"/>
                <a:gd name="T79" fmla="*/ 2147483647 h 1236"/>
                <a:gd name="T80" fmla="*/ 2147483647 w 822"/>
                <a:gd name="T81" fmla="*/ 2147483647 h 1236"/>
                <a:gd name="T82" fmla="*/ 2147483647 w 822"/>
                <a:gd name="T83" fmla="*/ 2147483647 h 1236"/>
                <a:gd name="T84" fmla="*/ 2147483647 w 822"/>
                <a:gd name="T85" fmla="*/ 2147483647 h 1236"/>
                <a:gd name="T86" fmla="*/ 2147483647 w 822"/>
                <a:gd name="T87" fmla="*/ 2147483647 h 1236"/>
                <a:gd name="T88" fmla="*/ 2147483647 w 822"/>
                <a:gd name="T89" fmla="*/ 2147483647 h 1236"/>
                <a:gd name="T90" fmla="*/ 2147483647 w 822"/>
                <a:gd name="T91" fmla="*/ 2147483647 h 1236"/>
                <a:gd name="T92" fmla="*/ 2147483647 w 822"/>
                <a:gd name="T93" fmla="*/ 2147483647 h 1236"/>
                <a:gd name="T94" fmla="*/ 2147483647 w 822"/>
                <a:gd name="T95" fmla="*/ 2147483647 h 1236"/>
                <a:gd name="T96" fmla="*/ 2147483647 w 822"/>
                <a:gd name="T97" fmla="*/ 2147483647 h 1236"/>
                <a:gd name="T98" fmla="*/ 2147483647 w 822"/>
                <a:gd name="T99" fmla="*/ 2147483647 h 1236"/>
                <a:gd name="T100" fmla="*/ 2147483647 w 822"/>
                <a:gd name="T101" fmla="*/ 2147483647 h 1236"/>
                <a:gd name="T102" fmla="*/ 2147483647 w 822"/>
                <a:gd name="T103" fmla="*/ 2147483647 h 1236"/>
                <a:gd name="T104" fmla="*/ 2147483647 w 822"/>
                <a:gd name="T105" fmla="*/ 2147483647 h 1236"/>
                <a:gd name="T106" fmla="*/ 2147483647 w 822"/>
                <a:gd name="T107" fmla="*/ 2147483647 h 1236"/>
                <a:gd name="T108" fmla="*/ 2147483647 w 822"/>
                <a:gd name="T109" fmla="*/ 2147483647 h 1236"/>
                <a:gd name="T110" fmla="*/ 2147483647 w 822"/>
                <a:gd name="T111" fmla="*/ 2147483647 h 1236"/>
                <a:gd name="T112" fmla="*/ 2147483647 w 822"/>
                <a:gd name="T113" fmla="*/ 2147483647 h 1236"/>
                <a:gd name="T114" fmla="*/ 2147483647 w 822"/>
                <a:gd name="T115" fmla="*/ 2147483647 h 1236"/>
                <a:gd name="T116" fmla="*/ 2147483647 w 822"/>
                <a:gd name="T117" fmla="*/ 2147483647 h 1236"/>
                <a:gd name="T118" fmla="*/ 2147483647 w 822"/>
                <a:gd name="T119" fmla="*/ 2147483647 h 1236"/>
                <a:gd name="T120" fmla="*/ 2147483647 w 822"/>
                <a:gd name="T121" fmla="*/ 2147483647 h 12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22"/>
                <a:gd name="T184" fmla="*/ 0 h 1236"/>
                <a:gd name="T185" fmla="*/ 822 w 822"/>
                <a:gd name="T186" fmla="*/ 1236 h 12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22" h="1236">
                  <a:moveTo>
                    <a:pt x="187" y="1236"/>
                  </a:moveTo>
                  <a:lnTo>
                    <a:pt x="187" y="1230"/>
                  </a:lnTo>
                  <a:lnTo>
                    <a:pt x="182" y="1219"/>
                  </a:lnTo>
                  <a:lnTo>
                    <a:pt x="176" y="1213"/>
                  </a:lnTo>
                  <a:lnTo>
                    <a:pt x="176" y="1202"/>
                  </a:lnTo>
                  <a:lnTo>
                    <a:pt x="176" y="1196"/>
                  </a:lnTo>
                  <a:lnTo>
                    <a:pt x="170" y="1179"/>
                  </a:lnTo>
                  <a:lnTo>
                    <a:pt x="170" y="1173"/>
                  </a:lnTo>
                  <a:lnTo>
                    <a:pt x="170" y="1168"/>
                  </a:lnTo>
                  <a:lnTo>
                    <a:pt x="170" y="1162"/>
                  </a:lnTo>
                  <a:lnTo>
                    <a:pt x="170" y="1156"/>
                  </a:lnTo>
                  <a:lnTo>
                    <a:pt x="170" y="1151"/>
                  </a:lnTo>
                  <a:lnTo>
                    <a:pt x="170" y="1145"/>
                  </a:lnTo>
                  <a:lnTo>
                    <a:pt x="170" y="1139"/>
                  </a:lnTo>
                  <a:lnTo>
                    <a:pt x="170" y="1134"/>
                  </a:lnTo>
                  <a:lnTo>
                    <a:pt x="170" y="1122"/>
                  </a:lnTo>
                  <a:lnTo>
                    <a:pt x="165" y="1122"/>
                  </a:lnTo>
                  <a:lnTo>
                    <a:pt x="159" y="1117"/>
                  </a:lnTo>
                  <a:lnTo>
                    <a:pt x="159" y="1111"/>
                  </a:lnTo>
                  <a:lnTo>
                    <a:pt x="153" y="1111"/>
                  </a:lnTo>
                  <a:lnTo>
                    <a:pt x="153" y="1105"/>
                  </a:lnTo>
                  <a:lnTo>
                    <a:pt x="148" y="1105"/>
                  </a:lnTo>
                  <a:lnTo>
                    <a:pt x="142" y="1105"/>
                  </a:lnTo>
                  <a:lnTo>
                    <a:pt x="136" y="1094"/>
                  </a:lnTo>
                  <a:lnTo>
                    <a:pt x="131" y="1094"/>
                  </a:lnTo>
                  <a:lnTo>
                    <a:pt x="131" y="1082"/>
                  </a:lnTo>
                  <a:lnTo>
                    <a:pt x="125" y="1082"/>
                  </a:lnTo>
                  <a:lnTo>
                    <a:pt x="119" y="1077"/>
                  </a:lnTo>
                  <a:lnTo>
                    <a:pt x="114" y="1071"/>
                  </a:lnTo>
                  <a:lnTo>
                    <a:pt x="114" y="1065"/>
                  </a:lnTo>
                  <a:lnTo>
                    <a:pt x="108" y="1065"/>
                  </a:lnTo>
                  <a:lnTo>
                    <a:pt x="102" y="1060"/>
                  </a:lnTo>
                  <a:lnTo>
                    <a:pt x="97" y="1060"/>
                  </a:lnTo>
                  <a:lnTo>
                    <a:pt x="91" y="1060"/>
                  </a:lnTo>
                  <a:lnTo>
                    <a:pt x="91" y="1065"/>
                  </a:lnTo>
                  <a:lnTo>
                    <a:pt x="85" y="1065"/>
                  </a:lnTo>
                  <a:lnTo>
                    <a:pt x="80" y="1071"/>
                  </a:lnTo>
                  <a:lnTo>
                    <a:pt x="80" y="1077"/>
                  </a:lnTo>
                  <a:lnTo>
                    <a:pt x="80" y="1082"/>
                  </a:lnTo>
                  <a:lnTo>
                    <a:pt x="74" y="1088"/>
                  </a:lnTo>
                  <a:lnTo>
                    <a:pt x="74" y="1094"/>
                  </a:lnTo>
                  <a:lnTo>
                    <a:pt x="68" y="1099"/>
                  </a:lnTo>
                  <a:lnTo>
                    <a:pt x="63" y="1105"/>
                  </a:lnTo>
                  <a:lnTo>
                    <a:pt x="57" y="1099"/>
                  </a:lnTo>
                  <a:lnTo>
                    <a:pt x="51" y="1099"/>
                  </a:lnTo>
                  <a:lnTo>
                    <a:pt x="51" y="1094"/>
                  </a:lnTo>
                  <a:lnTo>
                    <a:pt x="46" y="1094"/>
                  </a:lnTo>
                  <a:lnTo>
                    <a:pt x="46" y="1082"/>
                  </a:lnTo>
                  <a:lnTo>
                    <a:pt x="40" y="1077"/>
                  </a:lnTo>
                  <a:lnTo>
                    <a:pt x="40" y="1071"/>
                  </a:lnTo>
                  <a:lnTo>
                    <a:pt x="34" y="1060"/>
                  </a:lnTo>
                  <a:lnTo>
                    <a:pt x="34" y="1054"/>
                  </a:lnTo>
                  <a:lnTo>
                    <a:pt x="29" y="1048"/>
                  </a:lnTo>
                  <a:lnTo>
                    <a:pt x="23" y="1037"/>
                  </a:lnTo>
                  <a:lnTo>
                    <a:pt x="17" y="1031"/>
                  </a:lnTo>
                  <a:lnTo>
                    <a:pt x="17" y="1026"/>
                  </a:lnTo>
                  <a:lnTo>
                    <a:pt x="12" y="1026"/>
                  </a:lnTo>
                  <a:lnTo>
                    <a:pt x="6" y="1026"/>
                  </a:lnTo>
                  <a:lnTo>
                    <a:pt x="0" y="1020"/>
                  </a:lnTo>
                  <a:lnTo>
                    <a:pt x="6" y="1020"/>
                  </a:lnTo>
                  <a:lnTo>
                    <a:pt x="6" y="1014"/>
                  </a:lnTo>
                  <a:lnTo>
                    <a:pt x="12" y="1009"/>
                  </a:lnTo>
                  <a:lnTo>
                    <a:pt x="17" y="1009"/>
                  </a:lnTo>
                  <a:lnTo>
                    <a:pt x="17" y="1003"/>
                  </a:lnTo>
                  <a:lnTo>
                    <a:pt x="17" y="997"/>
                  </a:lnTo>
                  <a:lnTo>
                    <a:pt x="23" y="997"/>
                  </a:lnTo>
                  <a:lnTo>
                    <a:pt x="23" y="992"/>
                  </a:lnTo>
                  <a:lnTo>
                    <a:pt x="29" y="992"/>
                  </a:lnTo>
                  <a:lnTo>
                    <a:pt x="29" y="986"/>
                  </a:lnTo>
                  <a:lnTo>
                    <a:pt x="34" y="986"/>
                  </a:lnTo>
                  <a:lnTo>
                    <a:pt x="34" y="980"/>
                  </a:lnTo>
                  <a:lnTo>
                    <a:pt x="40" y="980"/>
                  </a:lnTo>
                  <a:lnTo>
                    <a:pt x="46" y="975"/>
                  </a:lnTo>
                  <a:lnTo>
                    <a:pt x="46" y="969"/>
                  </a:lnTo>
                  <a:lnTo>
                    <a:pt x="46" y="963"/>
                  </a:lnTo>
                  <a:lnTo>
                    <a:pt x="51" y="963"/>
                  </a:lnTo>
                  <a:lnTo>
                    <a:pt x="51" y="958"/>
                  </a:lnTo>
                  <a:lnTo>
                    <a:pt x="51" y="952"/>
                  </a:lnTo>
                  <a:lnTo>
                    <a:pt x="57" y="952"/>
                  </a:lnTo>
                  <a:lnTo>
                    <a:pt x="63" y="946"/>
                  </a:lnTo>
                  <a:lnTo>
                    <a:pt x="63" y="941"/>
                  </a:lnTo>
                  <a:lnTo>
                    <a:pt x="68" y="941"/>
                  </a:lnTo>
                  <a:lnTo>
                    <a:pt x="68" y="935"/>
                  </a:lnTo>
                  <a:lnTo>
                    <a:pt x="74" y="929"/>
                  </a:lnTo>
                  <a:lnTo>
                    <a:pt x="74" y="924"/>
                  </a:lnTo>
                  <a:lnTo>
                    <a:pt x="80" y="924"/>
                  </a:lnTo>
                  <a:lnTo>
                    <a:pt x="80" y="918"/>
                  </a:lnTo>
                  <a:lnTo>
                    <a:pt x="80" y="912"/>
                  </a:lnTo>
                  <a:lnTo>
                    <a:pt x="85" y="912"/>
                  </a:lnTo>
                  <a:lnTo>
                    <a:pt x="85" y="907"/>
                  </a:lnTo>
                  <a:lnTo>
                    <a:pt x="91" y="901"/>
                  </a:lnTo>
                  <a:lnTo>
                    <a:pt x="97" y="895"/>
                  </a:lnTo>
                  <a:lnTo>
                    <a:pt x="102" y="895"/>
                  </a:lnTo>
                  <a:lnTo>
                    <a:pt x="108" y="895"/>
                  </a:lnTo>
                  <a:lnTo>
                    <a:pt x="108" y="890"/>
                  </a:lnTo>
                  <a:lnTo>
                    <a:pt x="114" y="890"/>
                  </a:lnTo>
                  <a:lnTo>
                    <a:pt x="119" y="884"/>
                  </a:lnTo>
                  <a:lnTo>
                    <a:pt x="125" y="884"/>
                  </a:lnTo>
                  <a:lnTo>
                    <a:pt x="131" y="878"/>
                  </a:lnTo>
                  <a:lnTo>
                    <a:pt x="136" y="873"/>
                  </a:lnTo>
                  <a:lnTo>
                    <a:pt x="136" y="867"/>
                  </a:lnTo>
                  <a:lnTo>
                    <a:pt x="142" y="867"/>
                  </a:lnTo>
                  <a:lnTo>
                    <a:pt x="142" y="861"/>
                  </a:lnTo>
                  <a:lnTo>
                    <a:pt x="148" y="861"/>
                  </a:lnTo>
                  <a:lnTo>
                    <a:pt x="148" y="856"/>
                  </a:lnTo>
                  <a:lnTo>
                    <a:pt x="148" y="850"/>
                  </a:lnTo>
                  <a:lnTo>
                    <a:pt x="148" y="844"/>
                  </a:lnTo>
                  <a:lnTo>
                    <a:pt x="148" y="839"/>
                  </a:lnTo>
                  <a:lnTo>
                    <a:pt x="148" y="816"/>
                  </a:lnTo>
                  <a:lnTo>
                    <a:pt x="153" y="805"/>
                  </a:lnTo>
                  <a:lnTo>
                    <a:pt x="153" y="799"/>
                  </a:lnTo>
                  <a:lnTo>
                    <a:pt x="153" y="793"/>
                  </a:lnTo>
                  <a:lnTo>
                    <a:pt x="153" y="788"/>
                  </a:lnTo>
                  <a:lnTo>
                    <a:pt x="159" y="788"/>
                  </a:lnTo>
                  <a:lnTo>
                    <a:pt x="159" y="776"/>
                  </a:lnTo>
                  <a:lnTo>
                    <a:pt x="165" y="776"/>
                  </a:lnTo>
                  <a:lnTo>
                    <a:pt x="165" y="771"/>
                  </a:lnTo>
                  <a:lnTo>
                    <a:pt x="176" y="759"/>
                  </a:lnTo>
                  <a:lnTo>
                    <a:pt x="182" y="748"/>
                  </a:lnTo>
                  <a:lnTo>
                    <a:pt x="182" y="742"/>
                  </a:lnTo>
                  <a:lnTo>
                    <a:pt x="187" y="731"/>
                  </a:lnTo>
                  <a:lnTo>
                    <a:pt x="187" y="725"/>
                  </a:lnTo>
                  <a:lnTo>
                    <a:pt x="187" y="720"/>
                  </a:lnTo>
                  <a:lnTo>
                    <a:pt x="182" y="714"/>
                  </a:lnTo>
                  <a:lnTo>
                    <a:pt x="182" y="708"/>
                  </a:lnTo>
                  <a:lnTo>
                    <a:pt x="182" y="703"/>
                  </a:lnTo>
                  <a:lnTo>
                    <a:pt x="176" y="703"/>
                  </a:lnTo>
                  <a:lnTo>
                    <a:pt x="165" y="697"/>
                  </a:lnTo>
                  <a:lnTo>
                    <a:pt x="165" y="691"/>
                  </a:lnTo>
                  <a:lnTo>
                    <a:pt x="153" y="691"/>
                  </a:lnTo>
                  <a:lnTo>
                    <a:pt x="153" y="686"/>
                  </a:lnTo>
                  <a:lnTo>
                    <a:pt x="148" y="680"/>
                  </a:lnTo>
                  <a:lnTo>
                    <a:pt x="148" y="674"/>
                  </a:lnTo>
                  <a:lnTo>
                    <a:pt x="136" y="674"/>
                  </a:lnTo>
                  <a:lnTo>
                    <a:pt x="136" y="669"/>
                  </a:lnTo>
                  <a:lnTo>
                    <a:pt x="136" y="663"/>
                  </a:lnTo>
                  <a:lnTo>
                    <a:pt x="131" y="663"/>
                  </a:lnTo>
                  <a:lnTo>
                    <a:pt x="125" y="657"/>
                  </a:lnTo>
                  <a:lnTo>
                    <a:pt x="125" y="652"/>
                  </a:lnTo>
                  <a:lnTo>
                    <a:pt x="125" y="646"/>
                  </a:lnTo>
                  <a:lnTo>
                    <a:pt x="125" y="635"/>
                  </a:lnTo>
                  <a:lnTo>
                    <a:pt x="125" y="623"/>
                  </a:lnTo>
                  <a:lnTo>
                    <a:pt x="125" y="618"/>
                  </a:lnTo>
                  <a:lnTo>
                    <a:pt x="125" y="606"/>
                  </a:lnTo>
                  <a:lnTo>
                    <a:pt x="125" y="601"/>
                  </a:lnTo>
                  <a:lnTo>
                    <a:pt x="125" y="595"/>
                  </a:lnTo>
                  <a:lnTo>
                    <a:pt x="119" y="595"/>
                  </a:lnTo>
                  <a:lnTo>
                    <a:pt x="119" y="589"/>
                  </a:lnTo>
                  <a:lnTo>
                    <a:pt x="119" y="584"/>
                  </a:lnTo>
                  <a:lnTo>
                    <a:pt x="114" y="584"/>
                  </a:lnTo>
                  <a:lnTo>
                    <a:pt x="114" y="578"/>
                  </a:lnTo>
                  <a:lnTo>
                    <a:pt x="108" y="578"/>
                  </a:lnTo>
                  <a:lnTo>
                    <a:pt x="108" y="572"/>
                  </a:lnTo>
                  <a:lnTo>
                    <a:pt x="102" y="572"/>
                  </a:lnTo>
                  <a:lnTo>
                    <a:pt x="102" y="567"/>
                  </a:lnTo>
                  <a:lnTo>
                    <a:pt x="97" y="567"/>
                  </a:lnTo>
                  <a:lnTo>
                    <a:pt x="97" y="561"/>
                  </a:lnTo>
                  <a:lnTo>
                    <a:pt x="91" y="561"/>
                  </a:lnTo>
                  <a:lnTo>
                    <a:pt x="85" y="555"/>
                  </a:lnTo>
                  <a:lnTo>
                    <a:pt x="85" y="550"/>
                  </a:lnTo>
                  <a:lnTo>
                    <a:pt x="80" y="550"/>
                  </a:lnTo>
                  <a:lnTo>
                    <a:pt x="68" y="550"/>
                  </a:lnTo>
                  <a:lnTo>
                    <a:pt x="63" y="544"/>
                  </a:lnTo>
                  <a:lnTo>
                    <a:pt x="57" y="538"/>
                  </a:lnTo>
                  <a:lnTo>
                    <a:pt x="51" y="538"/>
                  </a:lnTo>
                  <a:lnTo>
                    <a:pt x="51" y="533"/>
                  </a:lnTo>
                  <a:lnTo>
                    <a:pt x="51" y="527"/>
                  </a:lnTo>
                  <a:lnTo>
                    <a:pt x="51" y="521"/>
                  </a:lnTo>
                  <a:lnTo>
                    <a:pt x="46" y="521"/>
                  </a:lnTo>
                  <a:lnTo>
                    <a:pt x="46" y="516"/>
                  </a:lnTo>
                  <a:lnTo>
                    <a:pt x="40" y="516"/>
                  </a:lnTo>
                  <a:lnTo>
                    <a:pt x="40" y="510"/>
                  </a:lnTo>
                  <a:lnTo>
                    <a:pt x="40" y="504"/>
                  </a:lnTo>
                  <a:lnTo>
                    <a:pt x="40" y="499"/>
                  </a:lnTo>
                  <a:lnTo>
                    <a:pt x="34" y="499"/>
                  </a:lnTo>
                  <a:lnTo>
                    <a:pt x="23" y="487"/>
                  </a:lnTo>
                  <a:lnTo>
                    <a:pt x="29" y="487"/>
                  </a:lnTo>
                  <a:lnTo>
                    <a:pt x="34" y="482"/>
                  </a:lnTo>
                  <a:lnTo>
                    <a:pt x="46" y="482"/>
                  </a:lnTo>
                  <a:lnTo>
                    <a:pt x="63" y="482"/>
                  </a:lnTo>
                  <a:lnTo>
                    <a:pt x="68" y="482"/>
                  </a:lnTo>
                  <a:lnTo>
                    <a:pt x="68" y="476"/>
                  </a:lnTo>
                  <a:lnTo>
                    <a:pt x="74" y="476"/>
                  </a:lnTo>
                  <a:lnTo>
                    <a:pt x="80" y="470"/>
                  </a:lnTo>
                  <a:lnTo>
                    <a:pt x="85" y="470"/>
                  </a:lnTo>
                  <a:lnTo>
                    <a:pt x="91" y="470"/>
                  </a:lnTo>
                  <a:lnTo>
                    <a:pt x="97" y="470"/>
                  </a:lnTo>
                  <a:lnTo>
                    <a:pt x="102" y="470"/>
                  </a:lnTo>
                  <a:lnTo>
                    <a:pt x="102" y="465"/>
                  </a:lnTo>
                  <a:lnTo>
                    <a:pt x="108" y="465"/>
                  </a:lnTo>
                  <a:lnTo>
                    <a:pt x="114" y="465"/>
                  </a:lnTo>
                  <a:lnTo>
                    <a:pt x="119" y="459"/>
                  </a:lnTo>
                  <a:lnTo>
                    <a:pt x="125" y="453"/>
                  </a:lnTo>
                  <a:lnTo>
                    <a:pt x="131" y="453"/>
                  </a:lnTo>
                  <a:lnTo>
                    <a:pt x="136" y="453"/>
                  </a:lnTo>
                  <a:lnTo>
                    <a:pt x="136" y="448"/>
                  </a:lnTo>
                  <a:lnTo>
                    <a:pt x="136" y="442"/>
                  </a:lnTo>
                  <a:lnTo>
                    <a:pt x="142" y="442"/>
                  </a:lnTo>
                  <a:lnTo>
                    <a:pt x="148" y="436"/>
                  </a:lnTo>
                  <a:lnTo>
                    <a:pt x="153" y="436"/>
                  </a:lnTo>
                  <a:lnTo>
                    <a:pt x="153" y="431"/>
                  </a:lnTo>
                  <a:lnTo>
                    <a:pt x="153" y="425"/>
                  </a:lnTo>
                  <a:lnTo>
                    <a:pt x="159" y="425"/>
                  </a:lnTo>
                  <a:lnTo>
                    <a:pt x="165" y="425"/>
                  </a:lnTo>
                  <a:lnTo>
                    <a:pt x="165" y="419"/>
                  </a:lnTo>
                  <a:lnTo>
                    <a:pt x="170" y="414"/>
                  </a:lnTo>
                  <a:lnTo>
                    <a:pt x="170" y="402"/>
                  </a:lnTo>
                  <a:lnTo>
                    <a:pt x="170" y="397"/>
                  </a:lnTo>
                  <a:lnTo>
                    <a:pt x="170" y="391"/>
                  </a:lnTo>
                  <a:lnTo>
                    <a:pt x="170" y="374"/>
                  </a:lnTo>
                  <a:lnTo>
                    <a:pt x="170" y="368"/>
                  </a:lnTo>
                  <a:lnTo>
                    <a:pt x="170" y="363"/>
                  </a:lnTo>
                  <a:lnTo>
                    <a:pt x="170" y="357"/>
                  </a:lnTo>
                  <a:lnTo>
                    <a:pt x="170" y="351"/>
                  </a:lnTo>
                  <a:lnTo>
                    <a:pt x="165" y="346"/>
                  </a:lnTo>
                  <a:lnTo>
                    <a:pt x="165" y="340"/>
                  </a:lnTo>
                  <a:lnTo>
                    <a:pt x="165" y="334"/>
                  </a:lnTo>
                  <a:lnTo>
                    <a:pt x="165" y="329"/>
                  </a:lnTo>
                  <a:lnTo>
                    <a:pt x="159" y="317"/>
                  </a:lnTo>
                  <a:lnTo>
                    <a:pt x="182" y="329"/>
                  </a:lnTo>
                  <a:lnTo>
                    <a:pt x="187" y="329"/>
                  </a:lnTo>
                  <a:lnTo>
                    <a:pt x="199" y="329"/>
                  </a:lnTo>
                  <a:lnTo>
                    <a:pt x="204" y="329"/>
                  </a:lnTo>
                  <a:lnTo>
                    <a:pt x="210" y="329"/>
                  </a:lnTo>
                  <a:lnTo>
                    <a:pt x="216" y="329"/>
                  </a:lnTo>
                  <a:lnTo>
                    <a:pt x="227" y="329"/>
                  </a:lnTo>
                  <a:lnTo>
                    <a:pt x="233" y="329"/>
                  </a:lnTo>
                  <a:lnTo>
                    <a:pt x="244" y="317"/>
                  </a:lnTo>
                  <a:lnTo>
                    <a:pt x="250" y="317"/>
                  </a:lnTo>
                  <a:lnTo>
                    <a:pt x="250" y="312"/>
                  </a:lnTo>
                  <a:lnTo>
                    <a:pt x="250" y="300"/>
                  </a:lnTo>
                  <a:lnTo>
                    <a:pt x="255" y="289"/>
                  </a:lnTo>
                  <a:lnTo>
                    <a:pt x="255" y="283"/>
                  </a:lnTo>
                  <a:lnTo>
                    <a:pt x="255" y="278"/>
                  </a:lnTo>
                  <a:lnTo>
                    <a:pt x="255" y="272"/>
                  </a:lnTo>
                  <a:lnTo>
                    <a:pt x="261" y="272"/>
                  </a:lnTo>
                  <a:lnTo>
                    <a:pt x="267" y="266"/>
                  </a:lnTo>
                  <a:lnTo>
                    <a:pt x="267" y="261"/>
                  </a:lnTo>
                  <a:lnTo>
                    <a:pt x="272" y="261"/>
                  </a:lnTo>
                  <a:lnTo>
                    <a:pt x="272" y="255"/>
                  </a:lnTo>
                  <a:lnTo>
                    <a:pt x="278" y="255"/>
                  </a:lnTo>
                  <a:lnTo>
                    <a:pt x="284" y="244"/>
                  </a:lnTo>
                  <a:lnTo>
                    <a:pt x="289" y="238"/>
                  </a:lnTo>
                  <a:lnTo>
                    <a:pt x="295" y="238"/>
                  </a:lnTo>
                  <a:lnTo>
                    <a:pt x="301" y="232"/>
                  </a:lnTo>
                  <a:lnTo>
                    <a:pt x="306" y="232"/>
                  </a:lnTo>
                  <a:lnTo>
                    <a:pt x="312" y="227"/>
                  </a:lnTo>
                  <a:lnTo>
                    <a:pt x="318" y="227"/>
                  </a:lnTo>
                  <a:lnTo>
                    <a:pt x="323" y="227"/>
                  </a:lnTo>
                  <a:lnTo>
                    <a:pt x="323" y="221"/>
                  </a:lnTo>
                  <a:lnTo>
                    <a:pt x="329" y="221"/>
                  </a:lnTo>
                  <a:lnTo>
                    <a:pt x="335" y="221"/>
                  </a:lnTo>
                  <a:lnTo>
                    <a:pt x="340" y="215"/>
                  </a:lnTo>
                  <a:lnTo>
                    <a:pt x="352" y="215"/>
                  </a:lnTo>
                  <a:lnTo>
                    <a:pt x="357" y="215"/>
                  </a:lnTo>
                  <a:lnTo>
                    <a:pt x="369" y="215"/>
                  </a:lnTo>
                  <a:lnTo>
                    <a:pt x="386" y="215"/>
                  </a:lnTo>
                  <a:lnTo>
                    <a:pt x="397" y="215"/>
                  </a:lnTo>
                  <a:lnTo>
                    <a:pt x="403" y="215"/>
                  </a:lnTo>
                  <a:lnTo>
                    <a:pt x="409" y="215"/>
                  </a:lnTo>
                  <a:lnTo>
                    <a:pt x="414" y="210"/>
                  </a:lnTo>
                  <a:lnTo>
                    <a:pt x="420" y="204"/>
                  </a:lnTo>
                  <a:lnTo>
                    <a:pt x="426" y="198"/>
                  </a:lnTo>
                  <a:lnTo>
                    <a:pt x="443" y="181"/>
                  </a:lnTo>
                  <a:lnTo>
                    <a:pt x="448" y="181"/>
                  </a:lnTo>
                  <a:lnTo>
                    <a:pt x="448" y="175"/>
                  </a:lnTo>
                  <a:lnTo>
                    <a:pt x="454" y="170"/>
                  </a:lnTo>
                  <a:lnTo>
                    <a:pt x="460" y="164"/>
                  </a:lnTo>
                  <a:lnTo>
                    <a:pt x="465" y="164"/>
                  </a:lnTo>
                  <a:lnTo>
                    <a:pt x="477" y="153"/>
                  </a:lnTo>
                  <a:lnTo>
                    <a:pt x="482" y="147"/>
                  </a:lnTo>
                  <a:lnTo>
                    <a:pt x="482" y="141"/>
                  </a:lnTo>
                  <a:lnTo>
                    <a:pt x="494" y="136"/>
                  </a:lnTo>
                  <a:lnTo>
                    <a:pt x="499" y="130"/>
                  </a:lnTo>
                  <a:lnTo>
                    <a:pt x="505" y="130"/>
                  </a:lnTo>
                  <a:lnTo>
                    <a:pt x="505" y="124"/>
                  </a:lnTo>
                  <a:lnTo>
                    <a:pt x="511" y="124"/>
                  </a:lnTo>
                  <a:lnTo>
                    <a:pt x="516" y="119"/>
                  </a:lnTo>
                  <a:lnTo>
                    <a:pt x="522" y="119"/>
                  </a:lnTo>
                  <a:lnTo>
                    <a:pt x="528" y="119"/>
                  </a:lnTo>
                  <a:lnTo>
                    <a:pt x="533" y="119"/>
                  </a:lnTo>
                  <a:lnTo>
                    <a:pt x="539" y="124"/>
                  </a:lnTo>
                  <a:lnTo>
                    <a:pt x="545" y="130"/>
                  </a:lnTo>
                  <a:lnTo>
                    <a:pt x="550" y="130"/>
                  </a:lnTo>
                  <a:lnTo>
                    <a:pt x="556" y="136"/>
                  </a:lnTo>
                  <a:lnTo>
                    <a:pt x="562" y="141"/>
                  </a:lnTo>
                  <a:lnTo>
                    <a:pt x="567" y="141"/>
                  </a:lnTo>
                  <a:lnTo>
                    <a:pt x="573" y="147"/>
                  </a:lnTo>
                  <a:lnTo>
                    <a:pt x="579" y="147"/>
                  </a:lnTo>
                  <a:lnTo>
                    <a:pt x="584" y="153"/>
                  </a:lnTo>
                  <a:lnTo>
                    <a:pt x="590" y="158"/>
                  </a:lnTo>
                  <a:lnTo>
                    <a:pt x="596" y="158"/>
                  </a:lnTo>
                  <a:lnTo>
                    <a:pt x="601" y="158"/>
                  </a:lnTo>
                  <a:lnTo>
                    <a:pt x="607" y="158"/>
                  </a:lnTo>
                  <a:lnTo>
                    <a:pt x="618" y="158"/>
                  </a:lnTo>
                  <a:lnTo>
                    <a:pt x="635" y="164"/>
                  </a:lnTo>
                  <a:lnTo>
                    <a:pt x="647" y="164"/>
                  </a:lnTo>
                  <a:lnTo>
                    <a:pt x="647" y="158"/>
                  </a:lnTo>
                  <a:lnTo>
                    <a:pt x="652" y="158"/>
                  </a:lnTo>
                  <a:lnTo>
                    <a:pt x="658" y="158"/>
                  </a:lnTo>
                  <a:lnTo>
                    <a:pt x="658" y="153"/>
                  </a:lnTo>
                  <a:lnTo>
                    <a:pt x="664" y="153"/>
                  </a:lnTo>
                  <a:lnTo>
                    <a:pt x="664" y="147"/>
                  </a:lnTo>
                  <a:lnTo>
                    <a:pt x="664" y="130"/>
                  </a:lnTo>
                  <a:lnTo>
                    <a:pt x="669" y="130"/>
                  </a:lnTo>
                  <a:lnTo>
                    <a:pt x="669" y="124"/>
                  </a:lnTo>
                  <a:lnTo>
                    <a:pt x="669" y="119"/>
                  </a:lnTo>
                  <a:lnTo>
                    <a:pt x="669" y="113"/>
                  </a:lnTo>
                  <a:lnTo>
                    <a:pt x="669" y="107"/>
                  </a:lnTo>
                  <a:lnTo>
                    <a:pt x="669" y="102"/>
                  </a:lnTo>
                  <a:lnTo>
                    <a:pt x="675" y="102"/>
                  </a:lnTo>
                  <a:lnTo>
                    <a:pt x="675" y="96"/>
                  </a:lnTo>
                  <a:lnTo>
                    <a:pt x="675" y="90"/>
                  </a:lnTo>
                  <a:lnTo>
                    <a:pt x="681" y="85"/>
                  </a:lnTo>
                  <a:lnTo>
                    <a:pt x="681" y="79"/>
                  </a:lnTo>
                  <a:lnTo>
                    <a:pt x="686" y="68"/>
                  </a:lnTo>
                  <a:lnTo>
                    <a:pt x="692" y="51"/>
                  </a:lnTo>
                  <a:lnTo>
                    <a:pt x="698" y="39"/>
                  </a:lnTo>
                  <a:lnTo>
                    <a:pt x="698" y="34"/>
                  </a:lnTo>
                  <a:lnTo>
                    <a:pt x="698" y="22"/>
                  </a:lnTo>
                  <a:lnTo>
                    <a:pt x="703" y="17"/>
                  </a:lnTo>
                  <a:lnTo>
                    <a:pt x="709" y="17"/>
                  </a:lnTo>
                  <a:lnTo>
                    <a:pt x="709" y="11"/>
                  </a:lnTo>
                  <a:lnTo>
                    <a:pt x="715" y="11"/>
                  </a:lnTo>
                  <a:lnTo>
                    <a:pt x="720" y="11"/>
                  </a:lnTo>
                  <a:lnTo>
                    <a:pt x="726" y="11"/>
                  </a:lnTo>
                  <a:lnTo>
                    <a:pt x="743" y="11"/>
                  </a:lnTo>
                  <a:lnTo>
                    <a:pt x="754" y="11"/>
                  </a:lnTo>
                  <a:lnTo>
                    <a:pt x="760" y="11"/>
                  </a:lnTo>
                  <a:lnTo>
                    <a:pt x="766" y="11"/>
                  </a:lnTo>
                  <a:lnTo>
                    <a:pt x="766" y="5"/>
                  </a:lnTo>
                  <a:lnTo>
                    <a:pt x="771" y="5"/>
                  </a:lnTo>
                  <a:lnTo>
                    <a:pt x="777" y="5"/>
                  </a:lnTo>
                  <a:lnTo>
                    <a:pt x="783" y="5"/>
                  </a:lnTo>
                  <a:lnTo>
                    <a:pt x="788" y="0"/>
                  </a:lnTo>
                  <a:lnTo>
                    <a:pt x="800" y="0"/>
                  </a:lnTo>
                  <a:lnTo>
                    <a:pt x="817" y="0"/>
                  </a:lnTo>
                  <a:lnTo>
                    <a:pt x="822" y="0"/>
                  </a:lnTo>
                  <a:lnTo>
                    <a:pt x="822" y="5"/>
                  </a:lnTo>
                  <a:lnTo>
                    <a:pt x="817" y="5"/>
                  </a:lnTo>
                  <a:lnTo>
                    <a:pt x="817" y="17"/>
                  </a:lnTo>
                  <a:lnTo>
                    <a:pt x="811" y="22"/>
                  </a:lnTo>
                  <a:lnTo>
                    <a:pt x="805" y="22"/>
                  </a:lnTo>
                  <a:lnTo>
                    <a:pt x="805" y="28"/>
                  </a:lnTo>
                  <a:lnTo>
                    <a:pt x="800" y="28"/>
                  </a:lnTo>
                  <a:lnTo>
                    <a:pt x="800" y="34"/>
                  </a:lnTo>
                  <a:lnTo>
                    <a:pt x="794" y="39"/>
                  </a:lnTo>
                  <a:lnTo>
                    <a:pt x="794" y="45"/>
                  </a:lnTo>
                  <a:lnTo>
                    <a:pt x="788" y="56"/>
                  </a:lnTo>
                  <a:lnTo>
                    <a:pt x="788" y="62"/>
                  </a:lnTo>
                  <a:lnTo>
                    <a:pt x="788" y="68"/>
                  </a:lnTo>
                  <a:lnTo>
                    <a:pt x="788" y="73"/>
                  </a:lnTo>
                  <a:lnTo>
                    <a:pt x="783" y="73"/>
                  </a:lnTo>
                  <a:lnTo>
                    <a:pt x="783" y="79"/>
                  </a:lnTo>
                  <a:lnTo>
                    <a:pt x="777" y="85"/>
                  </a:lnTo>
                  <a:lnTo>
                    <a:pt x="771" y="85"/>
                  </a:lnTo>
                  <a:lnTo>
                    <a:pt x="766" y="90"/>
                  </a:lnTo>
                  <a:lnTo>
                    <a:pt x="766" y="102"/>
                  </a:lnTo>
                  <a:lnTo>
                    <a:pt x="766" y="107"/>
                  </a:lnTo>
                  <a:lnTo>
                    <a:pt x="766" y="113"/>
                  </a:lnTo>
                  <a:lnTo>
                    <a:pt x="766" y="119"/>
                  </a:lnTo>
                  <a:lnTo>
                    <a:pt x="766" y="124"/>
                  </a:lnTo>
                  <a:lnTo>
                    <a:pt x="766" y="130"/>
                  </a:lnTo>
                  <a:lnTo>
                    <a:pt x="771" y="130"/>
                  </a:lnTo>
                  <a:lnTo>
                    <a:pt x="771" y="136"/>
                  </a:lnTo>
                  <a:lnTo>
                    <a:pt x="771" y="141"/>
                  </a:lnTo>
                  <a:lnTo>
                    <a:pt x="771" y="147"/>
                  </a:lnTo>
                  <a:lnTo>
                    <a:pt x="771" y="153"/>
                  </a:lnTo>
                  <a:lnTo>
                    <a:pt x="766" y="153"/>
                  </a:lnTo>
                  <a:lnTo>
                    <a:pt x="766" y="158"/>
                  </a:lnTo>
                  <a:lnTo>
                    <a:pt x="760" y="164"/>
                  </a:lnTo>
                  <a:lnTo>
                    <a:pt x="760" y="170"/>
                  </a:lnTo>
                  <a:lnTo>
                    <a:pt x="760" y="175"/>
                  </a:lnTo>
                  <a:lnTo>
                    <a:pt x="760" y="181"/>
                  </a:lnTo>
                  <a:lnTo>
                    <a:pt x="760" y="187"/>
                  </a:lnTo>
                  <a:lnTo>
                    <a:pt x="754" y="193"/>
                  </a:lnTo>
                  <a:lnTo>
                    <a:pt x="754" y="198"/>
                  </a:lnTo>
                  <a:lnTo>
                    <a:pt x="760" y="204"/>
                  </a:lnTo>
                  <a:lnTo>
                    <a:pt x="760" y="210"/>
                  </a:lnTo>
                  <a:lnTo>
                    <a:pt x="754" y="215"/>
                  </a:lnTo>
                  <a:lnTo>
                    <a:pt x="754" y="221"/>
                  </a:lnTo>
                  <a:lnTo>
                    <a:pt x="749" y="227"/>
                  </a:lnTo>
                  <a:lnTo>
                    <a:pt x="743" y="232"/>
                  </a:lnTo>
                  <a:lnTo>
                    <a:pt x="743" y="238"/>
                  </a:lnTo>
                  <a:lnTo>
                    <a:pt x="743" y="244"/>
                  </a:lnTo>
                  <a:lnTo>
                    <a:pt x="743" y="249"/>
                  </a:lnTo>
                  <a:lnTo>
                    <a:pt x="737" y="255"/>
                  </a:lnTo>
                  <a:lnTo>
                    <a:pt x="732" y="261"/>
                  </a:lnTo>
                  <a:lnTo>
                    <a:pt x="726" y="266"/>
                  </a:lnTo>
                  <a:lnTo>
                    <a:pt x="726" y="272"/>
                  </a:lnTo>
                  <a:lnTo>
                    <a:pt x="720" y="272"/>
                  </a:lnTo>
                  <a:lnTo>
                    <a:pt x="715" y="278"/>
                  </a:lnTo>
                  <a:lnTo>
                    <a:pt x="709" y="278"/>
                  </a:lnTo>
                  <a:lnTo>
                    <a:pt x="703" y="278"/>
                  </a:lnTo>
                  <a:lnTo>
                    <a:pt x="698" y="278"/>
                  </a:lnTo>
                  <a:lnTo>
                    <a:pt x="692" y="278"/>
                  </a:lnTo>
                  <a:lnTo>
                    <a:pt x="692" y="283"/>
                  </a:lnTo>
                  <a:lnTo>
                    <a:pt x="686" y="283"/>
                  </a:lnTo>
                  <a:lnTo>
                    <a:pt x="681" y="289"/>
                  </a:lnTo>
                  <a:lnTo>
                    <a:pt x="681" y="295"/>
                  </a:lnTo>
                  <a:lnTo>
                    <a:pt x="675" y="300"/>
                  </a:lnTo>
                  <a:lnTo>
                    <a:pt x="669" y="312"/>
                  </a:lnTo>
                  <a:lnTo>
                    <a:pt x="664" y="312"/>
                  </a:lnTo>
                  <a:lnTo>
                    <a:pt x="664" y="317"/>
                  </a:lnTo>
                  <a:lnTo>
                    <a:pt x="669" y="323"/>
                  </a:lnTo>
                  <a:lnTo>
                    <a:pt x="675" y="329"/>
                  </a:lnTo>
                  <a:lnTo>
                    <a:pt x="675" y="334"/>
                  </a:lnTo>
                  <a:lnTo>
                    <a:pt x="675" y="340"/>
                  </a:lnTo>
                  <a:lnTo>
                    <a:pt x="669" y="346"/>
                  </a:lnTo>
                  <a:lnTo>
                    <a:pt x="669" y="351"/>
                  </a:lnTo>
                  <a:lnTo>
                    <a:pt x="664" y="351"/>
                  </a:lnTo>
                  <a:lnTo>
                    <a:pt x="658" y="357"/>
                  </a:lnTo>
                  <a:lnTo>
                    <a:pt x="658" y="363"/>
                  </a:lnTo>
                  <a:lnTo>
                    <a:pt x="658" y="368"/>
                  </a:lnTo>
                  <a:lnTo>
                    <a:pt x="664" y="374"/>
                  </a:lnTo>
                  <a:lnTo>
                    <a:pt x="669" y="380"/>
                  </a:lnTo>
                  <a:lnTo>
                    <a:pt x="675" y="380"/>
                  </a:lnTo>
                  <a:lnTo>
                    <a:pt x="675" y="385"/>
                  </a:lnTo>
                  <a:lnTo>
                    <a:pt x="681" y="385"/>
                  </a:lnTo>
                  <a:lnTo>
                    <a:pt x="681" y="391"/>
                  </a:lnTo>
                  <a:lnTo>
                    <a:pt x="681" y="397"/>
                  </a:lnTo>
                  <a:lnTo>
                    <a:pt x="681" y="402"/>
                  </a:lnTo>
                  <a:lnTo>
                    <a:pt x="675" y="402"/>
                  </a:lnTo>
                  <a:lnTo>
                    <a:pt x="669" y="408"/>
                  </a:lnTo>
                  <a:lnTo>
                    <a:pt x="669" y="414"/>
                  </a:lnTo>
                  <a:lnTo>
                    <a:pt x="669" y="419"/>
                  </a:lnTo>
                  <a:lnTo>
                    <a:pt x="669" y="425"/>
                  </a:lnTo>
                  <a:lnTo>
                    <a:pt x="669" y="431"/>
                  </a:lnTo>
                  <a:lnTo>
                    <a:pt x="669" y="436"/>
                  </a:lnTo>
                  <a:lnTo>
                    <a:pt x="664" y="442"/>
                  </a:lnTo>
                  <a:lnTo>
                    <a:pt x="664" y="448"/>
                  </a:lnTo>
                  <a:lnTo>
                    <a:pt x="664" y="453"/>
                  </a:lnTo>
                  <a:lnTo>
                    <a:pt x="664" y="459"/>
                  </a:lnTo>
                  <a:lnTo>
                    <a:pt x="664" y="465"/>
                  </a:lnTo>
                  <a:lnTo>
                    <a:pt x="664" y="470"/>
                  </a:lnTo>
                  <a:lnTo>
                    <a:pt x="664" y="476"/>
                  </a:lnTo>
                  <a:lnTo>
                    <a:pt x="658" y="476"/>
                  </a:lnTo>
                  <a:lnTo>
                    <a:pt x="658" y="482"/>
                  </a:lnTo>
                  <a:lnTo>
                    <a:pt x="652" y="482"/>
                  </a:lnTo>
                  <a:lnTo>
                    <a:pt x="647" y="482"/>
                  </a:lnTo>
                  <a:lnTo>
                    <a:pt x="647" y="487"/>
                  </a:lnTo>
                  <a:lnTo>
                    <a:pt x="641" y="487"/>
                  </a:lnTo>
                  <a:lnTo>
                    <a:pt x="635" y="487"/>
                  </a:lnTo>
                  <a:lnTo>
                    <a:pt x="630" y="487"/>
                  </a:lnTo>
                  <a:lnTo>
                    <a:pt x="630" y="493"/>
                  </a:lnTo>
                  <a:lnTo>
                    <a:pt x="624" y="493"/>
                  </a:lnTo>
                  <a:lnTo>
                    <a:pt x="618" y="493"/>
                  </a:lnTo>
                  <a:lnTo>
                    <a:pt x="613" y="493"/>
                  </a:lnTo>
                  <a:lnTo>
                    <a:pt x="601" y="493"/>
                  </a:lnTo>
                  <a:lnTo>
                    <a:pt x="596" y="493"/>
                  </a:lnTo>
                  <a:lnTo>
                    <a:pt x="596" y="499"/>
                  </a:lnTo>
                  <a:lnTo>
                    <a:pt x="584" y="499"/>
                  </a:lnTo>
                  <a:lnTo>
                    <a:pt x="579" y="504"/>
                  </a:lnTo>
                  <a:lnTo>
                    <a:pt x="573" y="510"/>
                  </a:lnTo>
                  <a:lnTo>
                    <a:pt x="567" y="510"/>
                  </a:lnTo>
                  <a:lnTo>
                    <a:pt x="562" y="516"/>
                  </a:lnTo>
                  <a:lnTo>
                    <a:pt x="556" y="516"/>
                  </a:lnTo>
                  <a:lnTo>
                    <a:pt x="556" y="521"/>
                  </a:lnTo>
                  <a:lnTo>
                    <a:pt x="550" y="527"/>
                  </a:lnTo>
                  <a:lnTo>
                    <a:pt x="545" y="527"/>
                  </a:lnTo>
                  <a:lnTo>
                    <a:pt x="533" y="533"/>
                  </a:lnTo>
                  <a:lnTo>
                    <a:pt x="528" y="538"/>
                  </a:lnTo>
                  <a:lnTo>
                    <a:pt x="528" y="544"/>
                  </a:lnTo>
                  <a:lnTo>
                    <a:pt x="528" y="550"/>
                  </a:lnTo>
                  <a:lnTo>
                    <a:pt x="539" y="550"/>
                  </a:lnTo>
                  <a:lnTo>
                    <a:pt x="545" y="550"/>
                  </a:lnTo>
                  <a:lnTo>
                    <a:pt x="545" y="555"/>
                  </a:lnTo>
                  <a:lnTo>
                    <a:pt x="545" y="561"/>
                  </a:lnTo>
                  <a:lnTo>
                    <a:pt x="545" y="567"/>
                  </a:lnTo>
                  <a:lnTo>
                    <a:pt x="545" y="572"/>
                  </a:lnTo>
                  <a:lnTo>
                    <a:pt x="545" y="578"/>
                  </a:lnTo>
                  <a:lnTo>
                    <a:pt x="545" y="584"/>
                  </a:lnTo>
                  <a:lnTo>
                    <a:pt x="545" y="589"/>
                  </a:lnTo>
                  <a:lnTo>
                    <a:pt x="545" y="595"/>
                  </a:lnTo>
                  <a:lnTo>
                    <a:pt x="539" y="595"/>
                  </a:lnTo>
                  <a:lnTo>
                    <a:pt x="539" y="601"/>
                  </a:lnTo>
                  <a:lnTo>
                    <a:pt x="539" y="606"/>
                  </a:lnTo>
                  <a:lnTo>
                    <a:pt x="539" y="612"/>
                  </a:lnTo>
                  <a:lnTo>
                    <a:pt x="533" y="618"/>
                  </a:lnTo>
                  <a:lnTo>
                    <a:pt x="533" y="623"/>
                  </a:lnTo>
                  <a:lnTo>
                    <a:pt x="539" y="623"/>
                  </a:lnTo>
                  <a:lnTo>
                    <a:pt x="539" y="629"/>
                  </a:lnTo>
                  <a:lnTo>
                    <a:pt x="539" y="635"/>
                  </a:lnTo>
                  <a:lnTo>
                    <a:pt x="539" y="640"/>
                  </a:lnTo>
                  <a:lnTo>
                    <a:pt x="539" y="646"/>
                  </a:lnTo>
                  <a:lnTo>
                    <a:pt x="539" y="652"/>
                  </a:lnTo>
                  <a:lnTo>
                    <a:pt x="533" y="652"/>
                  </a:lnTo>
                  <a:lnTo>
                    <a:pt x="533" y="657"/>
                  </a:lnTo>
                  <a:lnTo>
                    <a:pt x="533" y="663"/>
                  </a:lnTo>
                  <a:lnTo>
                    <a:pt x="533" y="669"/>
                  </a:lnTo>
                  <a:lnTo>
                    <a:pt x="528" y="674"/>
                  </a:lnTo>
                  <a:lnTo>
                    <a:pt x="528" y="680"/>
                  </a:lnTo>
                  <a:lnTo>
                    <a:pt x="522" y="686"/>
                  </a:lnTo>
                  <a:lnTo>
                    <a:pt x="522" y="691"/>
                  </a:lnTo>
                  <a:lnTo>
                    <a:pt x="516" y="697"/>
                  </a:lnTo>
                  <a:lnTo>
                    <a:pt x="511" y="703"/>
                  </a:lnTo>
                  <a:lnTo>
                    <a:pt x="505" y="703"/>
                  </a:lnTo>
                  <a:lnTo>
                    <a:pt x="505" y="708"/>
                  </a:lnTo>
                  <a:lnTo>
                    <a:pt x="505" y="714"/>
                  </a:lnTo>
                  <a:lnTo>
                    <a:pt x="511" y="714"/>
                  </a:lnTo>
                  <a:lnTo>
                    <a:pt x="505" y="720"/>
                  </a:lnTo>
                  <a:lnTo>
                    <a:pt x="505" y="725"/>
                  </a:lnTo>
                  <a:lnTo>
                    <a:pt x="505" y="731"/>
                  </a:lnTo>
                  <a:lnTo>
                    <a:pt x="505" y="737"/>
                  </a:lnTo>
                  <a:lnTo>
                    <a:pt x="511" y="742"/>
                  </a:lnTo>
                  <a:lnTo>
                    <a:pt x="511" y="748"/>
                  </a:lnTo>
                  <a:lnTo>
                    <a:pt x="511" y="759"/>
                  </a:lnTo>
                  <a:lnTo>
                    <a:pt x="505" y="759"/>
                  </a:lnTo>
                  <a:lnTo>
                    <a:pt x="499" y="765"/>
                  </a:lnTo>
                  <a:lnTo>
                    <a:pt x="494" y="765"/>
                  </a:lnTo>
                  <a:lnTo>
                    <a:pt x="494" y="759"/>
                  </a:lnTo>
                  <a:lnTo>
                    <a:pt x="488" y="759"/>
                  </a:lnTo>
                  <a:lnTo>
                    <a:pt x="488" y="765"/>
                  </a:lnTo>
                  <a:lnTo>
                    <a:pt x="482" y="765"/>
                  </a:lnTo>
                  <a:lnTo>
                    <a:pt x="477" y="771"/>
                  </a:lnTo>
                  <a:lnTo>
                    <a:pt x="477" y="776"/>
                  </a:lnTo>
                  <a:lnTo>
                    <a:pt x="477" y="782"/>
                  </a:lnTo>
                  <a:lnTo>
                    <a:pt x="477" y="788"/>
                  </a:lnTo>
                  <a:lnTo>
                    <a:pt x="471" y="793"/>
                  </a:lnTo>
                  <a:lnTo>
                    <a:pt x="465" y="799"/>
                  </a:lnTo>
                  <a:lnTo>
                    <a:pt x="465" y="805"/>
                  </a:lnTo>
                  <a:lnTo>
                    <a:pt x="460" y="805"/>
                  </a:lnTo>
                  <a:lnTo>
                    <a:pt x="454" y="805"/>
                  </a:lnTo>
                  <a:lnTo>
                    <a:pt x="448" y="810"/>
                  </a:lnTo>
                  <a:lnTo>
                    <a:pt x="437" y="816"/>
                  </a:lnTo>
                  <a:lnTo>
                    <a:pt x="431" y="822"/>
                  </a:lnTo>
                  <a:lnTo>
                    <a:pt x="426" y="822"/>
                  </a:lnTo>
                  <a:lnTo>
                    <a:pt x="426" y="816"/>
                  </a:lnTo>
                  <a:lnTo>
                    <a:pt x="420" y="816"/>
                  </a:lnTo>
                  <a:lnTo>
                    <a:pt x="414" y="816"/>
                  </a:lnTo>
                  <a:lnTo>
                    <a:pt x="409" y="810"/>
                  </a:lnTo>
                  <a:lnTo>
                    <a:pt x="397" y="810"/>
                  </a:lnTo>
                  <a:lnTo>
                    <a:pt x="392" y="810"/>
                  </a:lnTo>
                  <a:lnTo>
                    <a:pt x="392" y="816"/>
                  </a:lnTo>
                  <a:lnTo>
                    <a:pt x="392" y="822"/>
                  </a:lnTo>
                  <a:lnTo>
                    <a:pt x="386" y="827"/>
                  </a:lnTo>
                  <a:lnTo>
                    <a:pt x="380" y="833"/>
                  </a:lnTo>
                  <a:lnTo>
                    <a:pt x="380" y="839"/>
                  </a:lnTo>
                  <a:lnTo>
                    <a:pt x="380" y="844"/>
                  </a:lnTo>
                  <a:lnTo>
                    <a:pt x="380" y="850"/>
                  </a:lnTo>
                  <a:lnTo>
                    <a:pt x="374" y="856"/>
                  </a:lnTo>
                  <a:lnTo>
                    <a:pt x="369" y="861"/>
                  </a:lnTo>
                  <a:lnTo>
                    <a:pt x="363" y="861"/>
                  </a:lnTo>
                  <a:lnTo>
                    <a:pt x="357" y="861"/>
                  </a:lnTo>
                  <a:lnTo>
                    <a:pt x="352" y="861"/>
                  </a:lnTo>
                  <a:lnTo>
                    <a:pt x="352" y="867"/>
                  </a:lnTo>
                  <a:lnTo>
                    <a:pt x="346" y="867"/>
                  </a:lnTo>
                  <a:lnTo>
                    <a:pt x="335" y="867"/>
                  </a:lnTo>
                  <a:lnTo>
                    <a:pt x="329" y="867"/>
                  </a:lnTo>
                  <a:lnTo>
                    <a:pt x="323" y="873"/>
                  </a:lnTo>
                  <a:lnTo>
                    <a:pt x="318" y="873"/>
                  </a:lnTo>
                  <a:lnTo>
                    <a:pt x="312" y="873"/>
                  </a:lnTo>
                  <a:lnTo>
                    <a:pt x="312" y="878"/>
                  </a:lnTo>
                  <a:lnTo>
                    <a:pt x="306" y="878"/>
                  </a:lnTo>
                  <a:lnTo>
                    <a:pt x="306" y="890"/>
                  </a:lnTo>
                  <a:lnTo>
                    <a:pt x="306" y="895"/>
                  </a:lnTo>
                  <a:lnTo>
                    <a:pt x="306" y="901"/>
                  </a:lnTo>
                  <a:lnTo>
                    <a:pt x="306" y="907"/>
                  </a:lnTo>
                  <a:lnTo>
                    <a:pt x="306" y="912"/>
                  </a:lnTo>
                  <a:lnTo>
                    <a:pt x="312" y="918"/>
                  </a:lnTo>
                  <a:lnTo>
                    <a:pt x="312" y="929"/>
                  </a:lnTo>
                  <a:lnTo>
                    <a:pt x="318" y="952"/>
                  </a:lnTo>
                  <a:lnTo>
                    <a:pt x="318" y="963"/>
                  </a:lnTo>
                  <a:lnTo>
                    <a:pt x="318" y="969"/>
                  </a:lnTo>
                  <a:lnTo>
                    <a:pt x="312" y="975"/>
                  </a:lnTo>
                  <a:lnTo>
                    <a:pt x="306" y="980"/>
                  </a:lnTo>
                  <a:lnTo>
                    <a:pt x="306" y="986"/>
                  </a:lnTo>
                  <a:lnTo>
                    <a:pt x="301" y="986"/>
                  </a:lnTo>
                  <a:lnTo>
                    <a:pt x="301" y="992"/>
                  </a:lnTo>
                  <a:lnTo>
                    <a:pt x="301" y="997"/>
                  </a:lnTo>
                  <a:lnTo>
                    <a:pt x="295" y="997"/>
                  </a:lnTo>
                  <a:lnTo>
                    <a:pt x="301" y="1003"/>
                  </a:lnTo>
                  <a:lnTo>
                    <a:pt x="301" y="1009"/>
                  </a:lnTo>
                  <a:lnTo>
                    <a:pt x="301" y="1014"/>
                  </a:lnTo>
                  <a:lnTo>
                    <a:pt x="301" y="1020"/>
                  </a:lnTo>
                  <a:lnTo>
                    <a:pt x="301" y="1026"/>
                  </a:lnTo>
                  <a:lnTo>
                    <a:pt x="301" y="1031"/>
                  </a:lnTo>
                  <a:lnTo>
                    <a:pt x="301" y="1037"/>
                  </a:lnTo>
                  <a:lnTo>
                    <a:pt x="301" y="1043"/>
                  </a:lnTo>
                  <a:lnTo>
                    <a:pt x="295" y="1048"/>
                  </a:lnTo>
                  <a:lnTo>
                    <a:pt x="295" y="1054"/>
                  </a:lnTo>
                  <a:lnTo>
                    <a:pt x="289" y="1054"/>
                  </a:lnTo>
                  <a:lnTo>
                    <a:pt x="289" y="1060"/>
                  </a:lnTo>
                  <a:lnTo>
                    <a:pt x="284" y="1060"/>
                  </a:lnTo>
                  <a:lnTo>
                    <a:pt x="284" y="1065"/>
                  </a:lnTo>
                  <a:lnTo>
                    <a:pt x="278" y="1071"/>
                  </a:lnTo>
                  <a:lnTo>
                    <a:pt x="272" y="1077"/>
                  </a:lnTo>
                  <a:lnTo>
                    <a:pt x="267" y="1082"/>
                  </a:lnTo>
                  <a:lnTo>
                    <a:pt x="261" y="1088"/>
                  </a:lnTo>
                  <a:lnTo>
                    <a:pt x="255" y="1094"/>
                  </a:lnTo>
                  <a:lnTo>
                    <a:pt x="255" y="1099"/>
                  </a:lnTo>
                  <a:lnTo>
                    <a:pt x="250" y="1105"/>
                  </a:lnTo>
                  <a:lnTo>
                    <a:pt x="250" y="1111"/>
                  </a:lnTo>
                  <a:lnTo>
                    <a:pt x="244" y="1111"/>
                  </a:lnTo>
                  <a:lnTo>
                    <a:pt x="244" y="1117"/>
                  </a:lnTo>
                  <a:lnTo>
                    <a:pt x="244" y="1122"/>
                  </a:lnTo>
                  <a:lnTo>
                    <a:pt x="238" y="1122"/>
                  </a:lnTo>
                  <a:lnTo>
                    <a:pt x="238" y="1128"/>
                  </a:lnTo>
                  <a:lnTo>
                    <a:pt x="238" y="1134"/>
                  </a:lnTo>
                  <a:lnTo>
                    <a:pt x="238" y="1139"/>
                  </a:lnTo>
                  <a:lnTo>
                    <a:pt x="238" y="1145"/>
                  </a:lnTo>
                  <a:lnTo>
                    <a:pt x="238" y="1151"/>
                  </a:lnTo>
                  <a:lnTo>
                    <a:pt x="233" y="1151"/>
                  </a:lnTo>
                  <a:lnTo>
                    <a:pt x="233" y="1156"/>
                  </a:lnTo>
                  <a:lnTo>
                    <a:pt x="233" y="1162"/>
                  </a:lnTo>
                  <a:lnTo>
                    <a:pt x="233" y="1173"/>
                  </a:lnTo>
                  <a:lnTo>
                    <a:pt x="233" y="1185"/>
                  </a:lnTo>
                  <a:lnTo>
                    <a:pt x="233" y="1190"/>
                  </a:lnTo>
                  <a:lnTo>
                    <a:pt x="238" y="1196"/>
                  </a:lnTo>
                  <a:lnTo>
                    <a:pt x="238" y="1202"/>
                  </a:lnTo>
                  <a:lnTo>
                    <a:pt x="227" y="1207"/>
                  </a:lnTo>
                  <a:lnTo>
                    <a:pt x="221" y="1207"/>
                  </a:lnTo>
                  <a:lnTo>
                    <a:pt x="216" y="1213"/>
                  </a:lnTo>
                  <a:lnTo>
                    <a:pt x="210" y="1213"/>
                  </a:lnTo>
                  <a:lnTo>
                    <a:pt x="204" y="1213"/>
                  </a:lnTo>
                  <a:lnTo>
                    <a:pt x="204" y="1219"/>
                  </a:lnTo>
                  <a:lnTo>
                    <a:pt x="199" y="1224"/>
                  </a:lnTo>
                  <a:lnTo>
                    <a:pt x="193" y="1236"/>
                  </a:lnTo>
                  <a:lnTo>
                    <a:pt x="187" y="123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25" name="Freeform 3"/>
            <p:cNvSpPr>
              <a:spLocks/>
            </p:cNvSpPr>
            <p:nvPr/>
          </p:nvSpPr>
          <p:spPr bwMode="gray">
            <a:xfrm>
              <a:off x="3214079" y="1309049"/>
              <a:ext cx="1542226" cy="1453941"/>
            </a:xfrm>
            <a:custGeom>
              <a:avLst/>
              <a:gdLst>
                <a:gd name="T0" fmla="*/ 2147483647 w 1099"/>
                <a:gd name="T1" fmla="*/ 2147483647 h 1089"/>
                <a:gd name="T2" fmla="*/ 2147483647 w 1099"/>
                <a:gd name="T3" fmla="*/ 2147483647 h 1089"/>
                <a:gd name="T4" fmla="*/ 2147483647 w 1099"/>
                <a:gd name="T5" fmla="*/ 2147483647 h 1089"/>
                <a:gd name="T6" fmla="*/ 2147483647 w 1099"/>
                <a:gd name="T7" fmla="*/ 2147483647 h 1089"/>
                <a:gd name="T8" fmla="*/ 2147483647 w 1099"/>
                <a:gd name="T9" fmla="*/ 2147483647 h 1089"/>
                <a:gd name="T10" fmla="*/ 2147483647 w 1099"/>
                <a:gd name="T11" fmla="*/ 2147483647 h 1089"/>
                <a:gd name="T12" fmla="*/ 2147483647 w 1099"/>
                <a:gd name="T13" fmla="*/ 2147483647 h 1089"/>
                <a:gd name="T14" fmla="*/ 2147483647 w 1099"/>
                <a:gd name="T15" fmla="*/ 2147483647 h 1089"/>
                <a:gd name="T16" fmla="*/ 2147483647 w 1099"/>
                <a:gd name="T17" fmla="*/ 2147483647 h 1089"/>
                <a:gd name="T18" fmla="*/ 2147483647 w 1099"/>
                <a:gd name="T19" fmla="*/ 2147483647 h 1089"/>
                <a:gd name="T20" fmla="*/ 2147483647 w 1099"/>
                <a:gd name="T21" fmla="*/ 2147483647 h 1089"/>
                <a:gd name="T22" fmla="*/ 2147483647 w 1099"/>
                <a:gd name="T23" fmla="*/ 2147483647 h 1089"/>
                <a:gd name="T24" fmla="*/ 2147483647 w 1099"/>
                <a:gd name="T25" fmla="*/ 2147483647 h 1089"/>
                <a:gd name="T26" fmla="*/ 2147483647 w 1099"/>
                <a:gd name="T27" fmla="*/ 2147483647 h 1089"/>
                <a:gd name="T28" fmla="*/ 2147483647 w 1099"/>
                <a:gd name="T29" fmla="*/ 2147483647 h 1089"/>
                <a:gd name="T30" fmla="*/ 2147483647 w 1099"/>
                <a:gd name="T31" fmla="*/ 2147483647 h 1089"/>
                <a:gd name="T32" fmla="*/ 2147483647 w 1099"/>
                <a:gd name="T33" fmla="*/ 2147483647 h 1089"/>
                <a:gd name="T34" fmla="*/ 2147483647 w 1099"/>
                <a:gd name="T35" fmla="*/ 2147483647 h 1089"/>
                <a:gd name="T36" fmla="*/ 2147483647 w 1099"/>
                <a:gd name="T37" fmla="*/ 2147483647 h 1089"/>
                <a:gd name="T38" fmla="*/ 2147483647 w 1099"/>
                <a:gd name="T39" fmla="*/ 2147483647 h 1089"/>
                <a:gd name="T40" fmla="*/ 2147483647 w 1099"/>
                <a:gd name="T41" fmla="*/ 2147483647 h 1089"/>
                <a:gd name="T42" fmla="*/ 2147483647 w 1099"/>
                <a:gd name="T43" fmla="*/ 2147483647 h 1089"/>
                <a:gd name="T44" fmla="*/ 2147483647 w 1099"/>
                <a:gd name="T45" fmla="*/ 2147483647 h 1089"/>
                <a:gd name="T46" fmla="*/ 2147483647 w 1099"/>
                <a:gd name="T47" fmla="*/ 2147483647 h 1089"/>
                <a:gd name="T48" fmla="*/ 2147483647 w 1099"/>
                <a:gd name="T49" fmla="*/ 2147483647 h 1089"/>
                <a:gd name="T50" fmla="*/ 2147483647 w 1099"/>
                <a:gd name="T51" fmla="*/ 2147483647 h 1089"/>
                <a:gd name="T52" fmla="*/ 2147483647 w 1099"/>
                <a:gd name="T53" fmla="*/ 2147483647 h 1089"/>
                <a:gd name="T54" fmla="*/ 2147483647 w 1099"/>
                <a:gd name="T55" fmla="*/ 2147483647 h 1089"/>
                <a:gd name="T56" fmla="*/ 2147483647 w 1099"/>
                <a:gd name="T57" fmla="*/ 2147483647 h 1089"/>
                <a:gd name="T58" fmla="*/ 2147483647 w 1099"/>
                <a:gd name="T59" fmla="*/ 2147483647 h 1089"/>
                <a:gd name="T60" fmla="*/ 2147483647 w 1099"/>
                <a:gd name="T61" fmla="*/ 2147483647 h 1089"/>
                <a:gd name="T62" fmla="*/ 2147483647 w 1099"/>
                <a:gd name="T63" fmla="*/ 2147483647 h 1089"/>
                <a:gd name="T64" fmla="*/ 2147483647 w 1099"/>
                <a:gd name="T65" fmla="*/ 2147483647 h 1089"/>
                <a:gd name="T66" fmla="*/ 2147483647 w 1099"/>
                <a:gd name="T67" fmla="*/ 2147483647 h 1089"/>
                <a:gd name="T68" fmla="*/ 2147483647 w 1099"/>
                <a:gd name="T69" fmla="*/ 2147483647 h 1089"/>
                <a:gd name="T70" fmla="*/ 2147483647 w 1099"/>
                <a:gd name="T71" fmla="*/ 2147483647 h 1089"/>
                <a:gd name="T72" fmla="*/ 2147483647 w 1099"/>
                <a:gd name="T73" fmla="*/ 2147483647 h 1089"/>
                <a:gd name="T74" fmla="*/ 2147483647 w 1099"/>
                <a:gd name="T75" fmla="*/ 2147483647 h 1089"/>
                <a:gd name="T76" fmla="*/ 2147483647 w 1099"/>
                <a:gd name="T77" fmla="*/ 2147483647 h 1089"/>
                <a:gd name="T78" fmla="*/ 2147483647 w 1099"/>
                <a:gd name="T79" fmla="*/ 2147483647 h 1089"/>
                <a:gd name="T80" fmla="*/ 2147483647 w 1099"/>
                <a:gd name="T81" fmla="*/ 2147483647 h 1089"/>
                <a:gd name="T82" fmla="*/ 2147483647 w 1099"/>
                <a:gd name="T83" fmla="*/ 2147483647 h 1089"/>
                <a:gd name="T84" fmla="*/ 2147483647 w 1099"/>
                <a:gd name="T85" fmla="*/ 2147483647 h 1089"/>
                <a:gd name="T86" fmla="*/ 2147483647 w 1099"/>
                <a:gd name="T87" fmla="*/ 2147483647 h 1089"/>
                <a:gd name="T88" fmla="*/ 2147483647 w 1099"/>
                <a:gd name="T89" fmla="*/ 2147483647 h 1089"/>
                <a:gd name="T90" fmla="*/ 2147483647 w 1099"/>
                <a:gd name="T91" fmla="*/ 2147483647 h 1089"/>
                <a:gd name="T92" fmla="*/ 2147483647 w 1099"/>
                <a:gd name="T93" fmla="*/ 2147483647 h 1089"/>
                <a:gd name="T94" fmla="*/ 2147483647 w 1099"/>
                <a:gd name="T95" fmla="*/ 2147483647 h 1089"/>
                <a:gd name="T96" fmla="*/ 2147483647 w 1099"/>
                <a:gd name="T97" fmla="*/ 2147483647 h 1089"/>
                <a:gd name="T98" fmla="*/ 2147483647 w 1099"/>
                <a:gd name="T99" fmla="*/ 2147483647 h 1089"/>
                <a:gd name="T100" fmla="*/ 2147483647 w 1099"/>
                <a:gd name="T101" fmla="*/ 2147483647 h 1089"/>
                <a:gd name="T102" fmla="*/ 2147483647 w 1099"/>
                <a:gd name="T103" fmla="*/ 2147483647 h 1089"/>
                <a:gd name="T104" fmla="*/ 2147483647 w 1099"/>
                <a:gd name="T105" fmla="*/ 2147483647 h 1089"/>
                <a:gd name="T106" fmla="*/ 2147483647 w 1099"/>
                <a:gd name="T107" fmla="*/ 2147483647 h 1089"/>
                <a:gd name="T108" fmla="*/ 2147483647 w 1099"/>
                <a:gd name="T109" fmla="*/ 2147483647 h 1089"/>
                <a:gd name="T110" fmla="*/ 2147483647 w 1099"/>
                <a:gd name="T111" fmla="*/ 2147483647 h 1089"/>
                <a:gd name="T112" fmla="*/ 2147483647 w 1099"/>
                <a:gd name="T113" fmla="*/ 2147483647 h 1089"/>
                <a:gd name="T114" fmla="*/ 2147483647 w 1099"/>
                <a:gd name="T115" fmla="*/ 2147483647 h 1089"/>
                <a:gd name="T116" fmla="*/ 2147483647 w 1099"/>
                <a:gd name="T117" fmla="*/ 2147483647 h 1089"/>
                <a:gd name="T118" fmla="*/ 2147483647 w 1099"/>
                <a:gd name="T119" fmla="*/ 2147483647 h 1089"/>
                <a:gd name="T120" fmla="*/ 2147483647 w 1099"/>
                <a:gd name="T121" fmla="*/ 2147483647 h 108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99"/>
                <a:gd name="T184" fmla="*/ 0 h 1089"/>
                <a:gd name="T185" fmla="*/ 1099 w 1099"/>
                <a:gd name="T186" fmla="*/ 1089 h 108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99" h="1089">
                  <a:moveTo>
                    <a:pt x="17" y="766"/>
                  </a:moveTo>
                  <a:lnTo>
                    <a:pt x="11" y="760"/>
                  </a:lnTo>
                  <a:lnTo>
                    <a:pt x="5" y="748"/>
                  </a:lnTo>
                  <a:lnTo>
                    <a:pt x="0" y="737"/>
                  </a:lnTo>
                  <a:lnTo>
                    <a:pt x="0" y="731"/>
                  </a:lnTo>
                  <a:lnTo>
                    <a:pt x="0" y="726"/>
                  </a:lnTo>
                  <a:lnTo>
                    <a:pt x="5" y="720"/>
                  </a:lnTo>
                  <a:lnTo>
                    <a:pt x="5" y="714"/>
                  </a:lnTo>
                  <a:lnTo>
                    <a:pt x="5" y="709"/>
                  </a:lnTo>
                  <a:lnTo>
                    <a:pt x="11" y="709"/>
                  </a:lnTo>
                  <a:lnTo>
                    <a:pt x="11" y="703"/>
                  </a:lnTo>
                  <a:lnTo>
                    <a:pt x="17" y="703"/>
                  </a:lnTo>
                  <a:lnTo>
                    <a:pt x="17" y="697"/>
                  </a:lnTo>
                  <a:lnTo>
                    <a:pt x="17" y="692"/>
                  </a:lnTo>
                  <a:lnTo>
                    <a:pt x="22" y="686"/>
                  </a:lnTo>
                  <a:lnTo>
                    <a:pt x="28" y="680"/>
                  </a:lnTo>
                  <a:lnTo>
                    <a:pt x="28" y="675"/>
                  </a:lnTo>
                  <a:lnTo>
                    <a:pt x="34" y="675"/>
                  </a:lnTo>
                  <a:lnTo>
                    <a:pt x="39" y="669"/>
                  </a:lnTo>
                  <a:lnTo>
                    <a:pt x="39" y="663"/>
                  </a:lnTo>
                  <a:lnTo>
                    <a:pt x="39" y="658"/>
                  </a:lnTo>
                  <a:lnTo>
                    <a:pt x="39" y="652"/>
                  </a:lnTo>
                  <a:lnTo>
                    <a:pt x="39" y="646"/>
                  </a:lnTo>
                  <a:lnTo>
                    <a:pt x="39" y="635"/>
                  </a:lnTo>
                  <a:lnTo>
                    <a:pt x="39" y="629"/>
                  </a:lnTo>
                  <a:lnTo>
                    <a:pt x="34" y="624"/>
                  </a:lnTo>
                  <a:lnTo>
                    <a:pt x="28" y="624"/>
                  </a:lnTo>
                  <a:lnTo>
                    <a:pt x="28" y="618"/>
                  </a:lnTo>
                  <a:lnTo>
                    <a:pt x="22" y="612"/>
                  </a:lnTo>
                  <a:lnTo>
                    <a:pt x="17" y="607"/>
                  </a:lnTo>
                  <a:lnTo>
                    <a:pt x="17" y="601"/>
                  </a:lnTo>
                  <a:lnTo>
                    <a:pt x="17" y="595"/>
                  </a:lnTo>
                  <a:lnTo>
                    <a:pt x="11" y="590"/>
                  </a:lnTo>
                  <a:lnTo>
                    <a:pt x="11" y="584"/>
                  </a:lnTo>
                  <a:lnTo>
                    <a:pt x="11" y="567"/>
                  </a:lnTo>
                  <a:lnTo>
                    <a:pt x="17" y="556"/>
                  </a:lnTo>
                  <a:lnTo>
                    <a:pt x="17" y="550"/>
                  </a:lnTo>
                  <a:lnTo>
                    <a:pt x="17" y="539"/>
                  </a:lnTo>
                  <a:lnTo>
                    <a:pt x="17" y="533"/>
                  </a:lnTo>
                  <a:lnTo>
                    <a:pt x="17" y="527"/>
                  </a:lnTo>
                  <a:lnTo>
                    <a:pt x="17" y="522"/>
                  </a:lnTo>
                  <a:lnTo>
                    <a:pt x="22" y="522"/>
                  </a:lnTo>
                  <a:lnTo>
                    <a:pt x="22" y="516"/>
                  </a:lnTo>
                  <a:lnTo>
                    <a:pt x="28" y="516"/>
                  </a:lnTo>
                  <a:lnTo>
                    <a:pt x="28" y="510"/>
                  </a:lnTo>
                  <a:lnTo>
                    <a:pt x="34" y="510"/>
                  </a:lnTo>
                  <a:lnTo>
                    <a:pt x="39" y="510"/>
                  </a:lnTo>
                  <a:lnTo>
                    <a:pt x="45" y="510"/>
                  </a:lnTo>
                  <a:lnTo>
                    <a:pt x="51" y="510"/>
                  </a:lnTo>
                  <a:lnTo>
                    <a:pt x="56" y="505"/>
                  </a:lnTo>
                  <a:lnTo>
                    <a:pt x="56" y="499"/>
                  </a:lnTo>
                  <a:lnTo>
                    <a:pt x="68" y="499"/>
                  </a:lnTo>
                  <a:lnTo>
                    <a:pt x="68" y="493"/>
                  </a:lnTo>
                  <a:lnTo>
                    <a:pt x="68" y="488"/>
                  </a:lnTo>
                  <a:lnTo>
                    <a:pt x="68" y="482"/>
                  </a:lnTo>
                  <a:lnTo>
                    <a:pt x="73" y="482"/>
                  </a:lnTo>
                  <a:lnTo>
                    <a:pt x="73" y="476"/>
                  </a:lnTo>
                  <a:lnTo>
                    <a:pt x="79" y="471"/>
                  </a:lnTo>
                  <a:lnTo>
                    <a:pt x="90" y="459"/>
                  </a:lnTo>
                  <a:lnTo>
                    <a:pt x="96" y="459"/>
                  </a:lnTo>
                  <a:lnTo>
                    <a:pt x="96" y="454"/>
                  </a:lnTo>
                  <a:lnTo>
                    <a:pt x="102" y="454"/>
                  </a:lnTo>
                  <a:lnTo>
                    <a:pt x="102" y="448"/>
                  </a:lnTo>
                  <a:lnTo>
                    <a:pt x="102" y="442"/>
                  </a:lnTo>
                  <a:lnTo>
                    <a:pt x="107" y="442"/>
                  </a:lnTo>
                  <a:lnTo>
                    <a:pt x="113" y="442"/>
                  </a:lnTo>
                  <a:lnTo>
                    <a:pt x="113" y="437"/>
                  </a:lnTo>
                  <a:lnTo>
                    <a:pt x="124" y="431"/>
                  </a:lnTo>
                  <a:lnTo>
                    <a:pt x="130" y="431"/>
                  </a:lnTo>
                  <a:lnTo>
                    <a:pt x="136" y="431"/>
                  </a:lnTo>
                  <a:lnTo>
                    <a:pt x="141" y="431"/>
                  </a:lnTo>
                  <a:lnTo>
                    <a:pt x="147" y="431"/>
                  </a:lnTo>
                  <a:lnTo>
                    <a:pt x="153" y="431"/>
                  </a:lnTo>
                  <a:lnTo>
                    <a:pt x="158" y="431"/>
                  </a:lnTo>
                  <a:lnTo>
                    <a:pt x="158" y="425"/>
                  </a:lnTo>
                  <a:lnTo>
                    <a:pt x="164" y="425"/>
                  </a:lnTo>
                  <a:lnTo>
                    <a:pt x="170" y="425"/>
                  </a:lnTo>
                  <a:lnTo>
                    <a:pt x="170" y="420"/>
                  </a:lnTo>
                  <a:lnTo>
                    <a:pt x="181" y="420"/>
                  </a:lnTo>
                  <a:lnTo>
                    <a:pt x="187" y="425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09" y="420"/>
                  </a:lnTo>
                  <a:lnTo>
                    <a:pt x="209" y="425"/>
                  </a:lnTo>
                  <a:lnTo>
                    <a:pt x="215" y="425"/>
                  </a:lnTo>
                  <a:lnTo>
                    <a:pt x="221" y="425"/>
                  </a:lnTo>
                  <a:lnTo>
                    <a:pt x="226" y="425"/>
                  </a:lnTo>
                  <a:lnTo>
                    <a:pt x="226" y="431"/>
                  </a:lnTo>
                  <a:lnTo>
                    <a:pt x="232" y="431"/>
                  </a:lnTo>
                  <a:lnTo>
                    <a:pt x="238" y="431"/>
                  </a:lnTo>
                  <a:lnTo>
                    <a:pt x="238" y="437"/>
                  </a:lnTo>
                  <a:lnTo>
                    <a:pt x="243" y="437"/>
                  </a:lnTo>
                  <a:lnTo>
                    <a:pt x="255" y="442"/>
                  </a:lnTo>
                  <a:lnTo>
                    <a:pt x="266" y="437"/>
                  </a:lnTo>
                  <a:lnTo>
                    <a:pt x="272" y="431"/>
                  </a:lnTo>
                  <a:lnTo>
                    <a:pt x="277" y="431"/>
                  </a:lnTo>
                  <a:lnTo>
                    <a:pt x="283" y="431"/>
                  </a:lnTo>
                  <a:lnTo>
                    <a:pt x="289" y="431"/>
                  </a:lnTo>
                  <a:lnTo>
                    <a:pt x="294" y="437"/>
                  </a:lnTo>
                  <a:lnTo>
                    <a:pt x="294" y="442"/>
                  </a:lnTo>
                  <a:lnTo>
                    <a:pt x="294" y="448"/>
                  </a:lnTo>
                  <a:lnTo>
                    <a:pt x="300" y="454"/>
                  </a:lnTo>
                  <a:lnTo>
                    <a:pt x="300" y="459"/>
                  </a:lnTo>
                  <a:lnTo>
                    <a:pt x="306" y="459"/>
                  </a:lnTo>
                  <a:lnTo>
                    <a:pt x="311" y="459"/>
                  </a:lnTo>
                  <a:lnTo>
                    <a:pt x="323" y="459"/>
                  </a:lnTo>
                  <a:lnTo>
                    <a:pt x="328" y="459"/>
                  </a:lnTo>
                  <a:lnTo>
                    <a:pt x="334" y="459"/>
                  </a:lnTo>
                  <a:lnTo>
                    <a:pt x="340" y="459"/>
                  </a:lnTo>
                  <a:lnTo>
                    <a:pt x="345" y="459"/>
                  </a:lnTo>
                  <a:lnTo>
                    <a:pt x="351" y="454"/>
                  </a:lnTo>
                  <a:lnTo>
                    <a:pt x="362" y="454"/>
                  </a:lnTo>
                  <a:lnTo>
                    <a:pt x="368" y="454"/>
                  </a:lnTo>
                  <a:lnTo>
                    <a:pt x="374" y="454"/>
                  </a:lnTo>
                  <a:lnTo>
                    <a:pt x="379" y="454"/>
                  </a:lnTo>
                  <a:lnTo>
                    <a:pt x="379" y="459"/>
                  </a:lnTo>
                  <a:lnTo>
                    <a:pt x="385" y="459"/>
                  </a:lnTo>
                  <a:lnTo>
                    <a:pt x="385" y="465"/>
                  </a:lnTo>
                  <a:lnTo>
                    <a:pt x="391" y="465"/>
                  </a:lnTo>
                  <a:lnTo>
                    <a:pt x="391" y="471"/>
                  </a:lnTo>
                  <a:lnTo>
                    <a:pt x="396" y="476"/>
                  </a:lnTo>
                  <a:lnTo>
                    <a:pt x="396" y="482"/>
                  </a:lnTo>
                  <a:lnTo>
                    <a:pt x="402" y="493"/>
                  </a:lnTo>
                  <a:lnTo>
                    <a:pt x="402" y="499"/>
                  </a:lnTo>
                  <a:lnTo>
                    <a:pt x="408" y="510"/>
                  </a:lnTo>
                  <a:lnTo>
                    <a:pt x="408" y="527"/>
                  </a:lnTo>
                  <a:lnTo>
                    <a:pt x="413" y="539"/>
                  </a:lnTo>
                  <a:lnTo>
                    <a:pt x="413" y="544"/>
                  </a:lnTo>
                  <a:lnTo>
                    <a:pt x="419" y="550"/>
                  </a:lnTo>
                  <a:lnTo>
                    <a:pt x="425" y="556"/>
                  </a:lnTo>
                  <a:lnTo>
                    <a:pt x="431" y="550"/>
                  </a:lnTo>
                  <a:lnTo>
                    <a:pt x="436" y="550"/>
                  </a:lnTo>
                  <a:lnTo>
                    <a:pt x="453" y="556"/>
                  </a:lnTo>
                  <a:lnTo>
                    <a:pt x="476" y="556"/>
                  </a:lnTo>
                  <a:lnTo>
                    <a:pt x="482" y="556"/>
                  </a:lnTo>
                  <a:lnTo>
                    <a:pt x="487" y="556"/>
                  </a:lnTo>
                  <a:lnTo>
                    <a:pt x="487" y="561"/>
                  </a:lnTo>
                  <a:lnTo>
                    <a:pt x="493" y="561"/>
                  </a:lnTo>
                  <a:lnTo>
                    <a:pt x="499" y="567"/>
                  </a:lnTo>
                  <a:lnTo>
                    <a:pt x="504" y="567"/>
                  </a:lnTo>
                  <a:lnTo>
                    <a:pt x="510" y="567"/>
                  </a:lnTo>
                  <a:lnTo>
                    <a:pt x="510" y="561"/>
                  </a:lnTo>
                  <a:lnTo>
                    <a:pt x="504" y="556"/>
                  </a:lnTo>
                  <a:lnTo>
                    <a:pt x="499" y="550"/>
                  </a:lnTo>
                  <a:lnTo>
                    <a:pt x="493" y="550"/>
                  </a:lnTo>
                  <a:lnTo>
                    <a:pt x="493" y="544"/>
                  </a:lnTo>
                  <a:lnTo>
                    <a:pt x="493" y="539"/>
                  </a:lnTo>
                  <a:lnTo>
                    <a:pt x="493" y="527"/>
                  </a:lnTo>
                  <a:lnTo>
                    <a:pt x="499" y="522"/>
                  </a:lnTo>
                  <a:lnTo>
                    <a:pt x="504" y="522"/>
                  </a:lnTo>
                  <a:lnTo>
                    <a:pt x="510" y="516"/>
                  </a:lnTo>
                  <a:lnTo>
                    <a:pt x="516" y="516"/>
                  </a:lnTo>
                  <a:lnTo>
                    <a:pt x="521" y="510"/>
                  </a:lnTo>
                  <a:lnTo>
                    <a:pt x="533" y="510"/>
                  </a:lnTo>
                  <a:lnTo>
                    <a:pt x="538" y="510"/>
                  </a:lnTo>
                  <a:lnTo>
                    <a:pt x="544" y="510"/>
                  </a:lnTo>
                  <a:lnTo>
                    <a:pt x="550" y="510"/>
                  </a:lnTo>
                  <a:lnTo>
                    <a:pt x="550" y="505"/>
                  </a:lnTo>
                  <a:lnTo>
                    <a:pt x="555" y="499"/>
                  </a:lnTo>
                  <a:lnTo>
                    <a:pt x="561" y="499"/>
                  </a:lnTo>
                  <a:lnTo>
                    <a:pt x="561" y="493"/>
                  </a:lnTo>
                  <a:lnTo>
                    <a:pt x="567" y="493"/>
                  </a:lnTo>
                  <a:lnTo>
                    <a:pt x="567" y="488"/>
                  </a:lnTo>
                  <a:lnTo>
                    <a:pt x="567" y="482"/>
                  </a:lnTo>
                  <a:lnTo>
                    <a:pt x="567" y="476"/>
                  </a:lnTo>
                  <a:lnTo>
                    <a:pt x="561" y="471"/>
                  </a:lnTo>
                  <a:lnTo>
                    <a:pt x="550" y="471"/>
                  </a:lnTo>
                  <a:lnTo>
                    <a:pt x="544" y="471"/>
                  </a:lnTo>
                  <a:lnTo>
                    <a:pt x="538" y="471"/>
                  </a:lnTo>
                  <a:lnTo>
                    <a:pt x="533" y="471"/>
                  </a:lnTo>
                  <a:lnTo>
                    <a:pt x="521" y="465"/>
                  </a:lnTo>
                  <a:lnTo>
                    <a:pt x="510" y="459"/>
                  </a:lnTo>
                  <a:lnTo>
                    <a:pt x="504" y="459"/>
                  </a:lnTo>
                  <a:lnTo>
                    <a:pt x="493" y="459"/>
                  </a:lnTo>
                  <a:lnTo>
                    <a:pt x="482" y="454"/>
                  </a:lnTo>
                  <a:lnTo>
                    <a:pt x="470" y="454"/>
                  </a:lnTo>
                  <a:lnTo>
                    <a:pt x="465" y="454"/>
                  </a:lnTo>
                  <a:lnTo>
                    <a:pt x="459" y="454"/>
                  </a:lnTo>
                  <a:lnTo>
                    <a:pt x="453" y="454"/>
                  </a:lnTo>
                  <a:lnTo>
                    <a:pt x="442" y="454"/>
                  </a:lnTo>
                  <a:lnTo>
                    <a:pt x="431" y="448"/>
                  </a:lnTo>
                  <a:lnTo>
                    <a:pt x="425" y="442"/>
                  </a:lnTo>
                  <a:lnTo>
                    <a:pt x="425" y="437"/>
                  </a:lnTo>
                  <a:lnTo>
                    <a:pt x="419" y="431"/>
                  </a:lnTo>
                  <a:lnTo>
                    <a:pt x="413" y="431"/>
                  </a:lnTo>
                  <a:lnTo>
                    <a:pt x="413" y="425"/>
                  </a:lnTo>
                  <a:lnTo>
                    <a:pt x="413" y="420"/>
                  </a:lnTo>
                  <a:lnTo>
                    <a:pt x="408" y="420"/>
                  </a:lnTo>
                  <a:lnTo>
                    <a:pt x="408" y="414"/>
                  </a:lnTo>
                  <a:lnTo>
                    <a:pt x="408" y="408"/>
                  </a:lnTo>
                  <a:lnTo>
                    <a:pt x="396" y="397"/>
                  </a:lnTo>
                  <a:lnTo>
                    <a:pt x="396" y="391"/>
                  </a:lnTo>
                  <a:lnTo>
                    <a:pt x="391" y="386"/>
                  </a:lnTo>
                  <a:lnTo>
                    <a:pt x="385" y="386"/>
                  </a:lnTo>
                  <a:lnTo>
                    <a:pt x="379" y="386"/>
                  </a:lnTo>
                  <a:lnTo>
                    <a:pt x="379" y="380"/>
                  </a:lnTo>
                  <a:lnTo>
                    <a:pt x="374" y="380"/>
                  </a:lnTo>
                  <a:lnTo>
                    <a:pt x="374" y="374"/>
                  </a:lnTo>
                  <a:lnTo>
                    <a:pt x="368" y="374"/>
                  </a:lnTo>
                  <a:lnTo>
                    <a:pt x="368" y="369"/>
                  </a:lnTo>
                  <a:lnTo>
                    <a:pt x="368" y="363"/>
                  </a:lnTo>
                  <a:lnTo>
                    <a:pt x="368" y="357"/>
                  </a:lnTo>
                  <a:lnTo>
                    <a:pt x="374" y="357"/>
                  </a:lnTo>
                  <a:lnTo>
                    <a:pt x="374" y="352"/>
                  </a:lnTo>
                  <a:lnTo>
                    <a:pt x="379" y="352"/>
                  </a:lnTo>
                  <a:lnTo>
                    <a:pt x="379" y="346"/>
                  </a:lnTo>
                  <a:lnTo>
                    <a:pt x="379" y="340"/>
                  </a:lnTo>
                  <a:lnTo>
                    <a:pt x="379" y="335"/>
                  </a:lnTo>
                  <a:lnTo>
                    <a:pt x="379" y="329"/>
                  </a:lnTo>
                  <a:lnTo>
                    <a:pt x="385" y="318"/>
                  </a:lnTo>
                  <a:lnTo>
                    <a:pt x="379" y="318"/>
                  </a:lnTo>
                  <a:lnTo>
                    <a:pt x="379" y="312"/>
                  </a:lnTo>
                  <a:lnTo>
                    <a:pt x="379" y="306"/>
                  </a:lnTo>
                  <a:lnTo>
                    <a:pt x="379" y="301"/>
                  </a:lnTo>
                  <a:lnTo>
                    <a:pt x="374" y="295"/>
                  </a:lnTo>
                  <a:lnTo>
                    <a:pt x="368" y="289"/>
                  </a:lnTo>
                  <a:lnTo>
                    <a:pt x="368" y="284"/>
                  </a:lnTo>
                  <a:lnTo>
                    <a:pt x="362" y="278"/>
                  </a:lnTo>
                  <a:lnTo>
                    <a:pt x="357" y="278"/>
                  </a:lnTo>
                  <a:lnTo>
                    <a:pt x="351" y="278"/>
                  </a:lnTo>
                  <a:lnTo>
                    <a:pt x="351" y="284"/>
                  </a:lnTo>
                  <a:lnTo>
                    <a:pt x="345" y="284"/>
                  </a:lnTo>
                  <a:lnTo>
                    <a:pt x="340" y="284"/>
                  </a:lnTo>
                  <a:lnTo>
                    <a:pt x="334" y="289"/>
                  </a:lnTo>
                  <a:lnTo>
                    <a:pt x="328" y="289"/>
                  </a:lnTo>
                  <a:lnTo>
                    <a:pt x="323" y="289"/>
                  </a:lnTo>
                  <a:lnTo>
                    <a:pt x="317" y="289"/>
                  </a:lnTo>
                  <a:lnTo>
                    <a:pt x="317" y="284"/>
                  </a:lnTo>
                  <a:lnTo>
                    <a:pt x="311" y="278"/>
                  </a:lnTo>
                  <a:lnTo>
                    <a:pt x="311" y="272"/>
                  </a:lnTo>
                  <a:lnTo>
                    <a:pt x="317" y="272"/>
                  </a:lnTo>
                  <a:lnTo>
                    <a:pt x="317" y="267"/>
                  </a:lnTo>
                  <a:lnTo>
                    <a:pt x="323" y="267"/>
                  </a:lnTo>
                  <a:lnTo>
                    <a:pt x="323" y="261"/>
                  </a:lnTo>
                  <a:lnTo>
                    <a:pt x="328" y="261"/>
                  </a:lnTo>
                  <a:lnTo>
                    <a:pt x="328" y="255"/>
                  </a:lnTo>
                  <a:lnTo>
                    <a:pt x="328" y="250"/>
                  </a:lnTo>
                  <a:lnTo>
                    <a:pt x="334" y="250"/>
                  </a:lnTo>
                  <a:lnTo>
                    <a:pt x="340" y="244"/>
                  </a:lnTo>
                  <a:lnTo>
                    <a:pt x="345" y="244"/>
                  </a:lnTo>
                  <a:lnTo>
                    <a:pt x="351" y="238"/>
                  </a:lnTo>
                  <a:lnTo>
                    <a:pt x="357" y="238"/>
                  </a:lnTo>
                  <a:lnTo>
                    <a:pt x="362" y="233"/>
                  </a:lnTo>
                  <a:lnTo>
                    <a:pt x="368" y="233"/>
                  </a:lnTo>
                  <a:lnTo>
                    <a:pt x="374" y="233"/>
                  </a:lnTo>
                  <a:lnTo>
                    <a:pt x="379" y="233"/>
                  </a:lnTo>
                  <a:lnTo>
                    <a:pt x="385" y="233"/>
                  </a:lnTo>
                  <a:lnTo>
                    <a:pt x="385" y="227"/>
                  </a:lnTo>
                  <a:lnTo>
                    <a:pt x="391" y="227"/>
                  </a:lnTo>
                  <a:lnTo>
                    <a:pt x="408" y="221"/>
                  </a:lnTo>
                  <a:lnTo>
                    <a:pt x="413" y="216"/>
                  </a:lnTo>
                  <a:lnTo>
                    <a:pt x="419" y="216"/>
                  </a:lnTo>
                  <a:lnTo>
                    <a:pt x="425" y="216"/>
                  </a:lnTo>
                  <a:lnTo>
                    <a:pt x="425" y="210"/>
                  </a:lnTo>
                  <a:lnTo>
                    <a:pt x="431" y="210"/>
                  </a:lnTo>
                  <a:lnTo>
                    <a:pt x="436" y="204"/>
                  </a:lnTo>
                  <a:lnTo>
                    <a:pt x="442" y="204"/>
                  </a:lnTo>
                  <a:lnTo>
                    <a:pt x="448" y="199"/>
                  </a:lnTo>
                  <a:lnTo>
                    <a:pt x="453" y="199"/>
                  </a:lnTo>
                  <a:lnTo>
                    <a:pt x="465" y="193"/>
                  </a:lnTo>
                  <a:lnTo>
                    <a:pt x="470" y="193"/>
                  </a:lnTo>
                  <a:lnTo>
                    <a:pt x="476" y="193"/>
                  </a:lnTo>
                  <a:lnTo>
                    <a:pt x="482" y="193"/>
                  </a:lnTo>
                  <a:lnTo>
                    <a:pt x="482" y="187"/>
                  </a:lnTo>
                  <a:lnTo>
                    <a:pt x="487" y="182"/>
                  </a:lnTo>
                  <a:lnTo>
                    <a:pt x="493" y="176"/>
                  </a:lnTo>
                  <a:lnTo>
                    <a:pt x="493" y="170"/>
                  </a:lnTo>
                  <a:lnTo>
                    <a:pt x="493" y="165"/>
                  </a:lnTo>
                  <a:lnTo>
                    <a:pt x="499" y="165"/>
                  </a:lnTo>
                  <a:lnTo>
                    <a:pt x="499" y="159"/>
                  </a:lnTo>
                  <a:lnTo>
                    <a:pt x="499" y="153"/>
                  </a:lnTo>
                  <a:lnTo>
                    <a:pt x="499" y="131"/>
                  </a:lnTo>
                  <a:lnTo>
                    <a:pt x="499" y="108"/>
                  </a:lnTo>
                  <a:lnTo>
                    <a:pt x="504" y="97"/>
                  </a:lnTo>
                  <a:lnTo>
                    <a:pt x="504" y="91"/>
                  </a:lnTo>
                  <a:lnTo>
                    <a:pt x="510" y="80"/>
                  </a:lnTo>
                  <a:lnTo>
                    <a:pt x="510" y="68"/>
                  </a:lnTo>
                  <a:lnTo>
                    <a:pt x="516" y="63"/>
                  </a:lnTo>
                  <a:lnTo>
                    <a:pt x="516" y="57"/>
                  </a:lnTo>
                  <a:lnTo>
                    <a:pt x="516" y="51"/>
                  </a:lnTo>
                  <a:lnTo>
                    <a:pt x="521" y="51"/>
                  </a:lnTo>
                  <a:lnTo>
                    <a:pt x="527" y="51"/>
                  </a:lnTo>
                  <a:lnTo>
                    <a:pt x="527" y="46"/>
                  </a:lnTo>
                  <a:lnTo>
                    <a:pt x="533" y="40"/>
                  </a:lnTo>
                  <a:lnTo>
                    <a:pt x="538" y="40"/>
                  </a:lnTo>
                  <a:lnTo>
                    <a:pt x="544" y="34"/>
                  </a:lnTo>
                  <a:lnTo>
                    <a:pt x="550" y="34"/>
                  </a:lnTo>
                  <a:lnTo>
                    <a:pt x="561" y="34"/>
                  </a:lnTo>
                  <a:lnTo>
                    <a:pt x="567" y="34"/>
                  </a:lnTo>
                  <a:lnTo>
                    <a:pt x="572" y="34"/>
                  </a:lnTo>
                  <a:lnTo>
                    <a:pt x="584" y="29"/>
                  </a:lnTo>
                  <a:lnTo>
                    <a:pt x="589" y="29"/>
                  </a:lnTo>
                  <a:lnTo>
                    <a:pt x="595" y="34"/>
                  </a:lnTo>
                  <a:lnTo>
                    <a:pt x="601" y="34"/>
                  </a:lnTo>
                  <a:lnTo>
                    <a:pt x="606" y="34"/>
                  </a:lnTo>
                  <a:lnTo>
                    <a:pt x="612" y="34"/>
                  </a:lnTo>
                  <a:lnTo>
                    <a:pt x="612" y="29"/>
                  </a:lnTo>
                  <a:lnTo>
                    <a:pt x="612" y="23"/>
                  </a:lnTo>
                  <a:lnTo>
                    <a:pt x="618" y="23"/>
                  </a:lnTo>
                  <a:lnTo>
                    <a:pt x="623" y="23"/>
                  </a:lnTo>
                  <a:lnTo>
                    <a:pt x="629" y="17"/>
                  </a:lnTo>
                  <a:lnTo>
                    <a:pt x="635" y="12"/>
                  </a:lnTo>
                  <a:lnTo>
                    <a:pt x="640" y="12"/>
                  </a:lnTo>
                  <a:lnTo>
                    <a:pt x="640" y="6"/>
                  </a:lnTo>
                  <a:lnTo>
                    <a:pt x="646" y="6"/>
                  </a:lnTo>
                  <a:lnTo>
                    <a:pt x="652" y="6"/>
                  </a:lnTo>
                  <a:lnTo>
                    <a:pt x="652" y="0"/>
                  </a:lnTo>
                  <a:lnTo>
                    <a:pt x="657" y="6"/>
                  </a:lnTo>
                  <a:lnTo>
                    <a:pt x="663" y="6"/>
                  </a:lnTo>
                  <a:lnTo>
                    <a:pt x="669" y="12"/>
                  </a:lnTo>
                  <a:lnTo>
                    <a:pt x="674" y="12"/>
                  </a:lnTo>
                  <a:lnTo>
                    <a:pt x="680" y="17"/>
                  </a:lnTo>
                  <a:lnTo>
                    <a:pt x="680" y="23"/>
                  </a:lnTo>
                  <a:lnTo>
                    <a:pt x="691" y="34"/>
                  </a:lnTo>
                  <a:lnTo>
                    <a:pt x="691" y="40"/>
                  </a:lnTo>
                  <a:lnTo>
                    <a:pt x="697" y="46"/>
                  </a:lnTo>
                  <a:lnTo>
                    <a:pt x="697" y="51"/>
                  </a:lnTo>
                  <a:lnTo>
                    <a:pt x="697" y="63"/>
                  </a:lnTo>
                  <a:lnTo>
                    <a:pt x="697" y="74"/>
                  </a:lnTo>
                  <a:lnTo>
                    <a:pt x="697" y="85"/>
                  </a:lnTo>
                  <a:lnTo>
                    <a:pt x="703" y="97"/>
                  </a:lnTo>
                  <a:lnTo>
                    <a:pt x="703" y="108"/>
                  </a:lnTo>
                  <a:lnTo>
                    <a:pt x="703" y="114"/>
                  </a:lnTo>
                  <a:lnTo>
                    <a:pt x="703" y="119"/>
                  </a:lnTo>
                  <a:lnTo>
                    <a:pt x="708" y="125"/>
                  </a:lnTo>
                  <a:lnTo>
                    <a:pt x="708" y="131"/>
                  </a:lnTo>
                  <a:lnTo>
                    <a:pt x="708" y="136"/>
                  </a:lnTo>
                  <a:lnTo>
                    <a:pt x="714" y="148"/>
                  </a:lnTo>
                  <a:lnTo>
                    <a:pt x="720" y="153"/>
                  </a:lnTo>
                  <a:lnTo>
                    <a:pt x="720" y="159"/>
                  </a:lnTo>
                  <a:lnTo>
                    <a:pt x="720" y="165"/>
                  </a:lnTo>
                  <a:lnTo>
                    <a:pt x="720" y="176"/>
                  </a:lnTo>
                  <a:lnTo>
                    <a:pt x="720" y="182"/>
                  </a:lnTo>
                  <a:lnTo>
                    <a:pt x="720" y="193"/>
                  </a:lnTo>
                  <a:lnTo>
                    <a:pt x="720" y="204"/>
                  </a:lnTo>
                  <a:lnTo>
                    <a:pt x="725" y="216"/>
                  </a:lnTo>
                  <a:lnTo>
                    <a:pt x="725" y="221"/>
                  </a:lnTo>
                  <a:lnTo>
                    <a:pt x="731" y="221"/>
                  </a:lnTo>
                  <a:lnTo>
                    <a:pt x="731" y="227"/>
                  </a:lnTo>
                  <a:lnTo>
                    <a:pt x="731" y="233"/>
                  </a:lnTo>
                  <a:lnTo>
                    <a:pt x="731" y="244"/>
                  </a:lnTo>
                  <a:lnTo>
                    <a:pt x="731" y="250"/>
                  </a:lnTo>
                  <a:lnTo>
                    <a:pt x="737" y="255"/>
                  </a:lnTo>
                  <a:lnTo>
                    <a:pt x="737" y="261"/>
                  </a:lnTo>
                  <a:lnTo>
                    <a:pt x="742" y="267"/>
                  </a:lnTo>
                  <a:lnTo>
                    <a:pt x="742" y="272"/>
                  </a:lnTo>
                  <a:lnTo>
                    <a:pt x="748" y="272"/>
                  </a:lnTo>
                  <a:lnTo>
                    <a:pt x="748" y="278"/>
                  </a:lnTo>
                  <a:lnTo>
                    <a:pt x="748" y="284"/>
                  </a:lnTo>
                  <a:lnTo>
                    <a:pt x="754" y="284"/>
                  </a:lnTo>
                  <a:lnTo>
                    <a:pt x="754" y="289"/>
                  </a:lnTo>
                  <a:lnTo>
                    <a:pt x="754" y="295"/>
                  </a:lnTo>
                  <a:lnTo>
                    <a:pt x="754" y="301"/>
                  </a:lnTo>
                  <a:lnTo>
                    <a:pt x="759" y="306"/>
                  </a:lnTo>
                  <a:lnTo>
                    <a:pt x="765" y="329"/>
                  </a:lnTo>
                  <a:lnTo>
                    <a:pt x="765" y="340"/>
                  </a:lnTo>
                  <a:lnTo>
                    <a:pt x="765" y="346"/>
                  </a:lnTo>
                  <a:lnTo>
                    <a:pt x="771" y="352"/>
                  </a:lnTo>
                  <a:lnTo>
                    <a:pt x="771" y="357"/>
                  </a:lnTo>
                  <a:lnTo>
                    <a:pt x="771" y="369"/>
                  </a:lnTo>
                  <a:lnTo>
                    <a:pt x="771" y="374"/>
                  </a:lnTo>
                  <a:lnTo>
                    <a:pt x="771" y="380"/>
                  </a:lnTo>
                  <a:lnTo>
                    <a:pt x="771" y="386"/>
                  </a:lnTo>
                  <a:lnTo>
                    <a:pt x="765" y="391"/>
                  </a:lnTo>
                  <a:lnTo>
                    <a:pt x="765" y="397"/>
                  </a:lnTo>
                  <a:lnTo>
                    <a:pt x="759" y="403"/>
                  </a:lnTo>
                  <a:lnTo>
                    <a:pt x="759" y="408"/>
                  </a:lnTo>
                  <a:lnTo>
                    <a:pt x="754" y="414"/>
                  </a:lnTo>
                  <a:lnTo>
                    <a:pt x="748" y="414"/>
                  </a:lnTo>
                  <a:lnTo>
                    <a:pt x="748" y="420"/>
                  </a:lnTo>
                  <a:lnTo>
                    <a:pt x="748" y="425"/>
                  </a:lnTo>
                  <a:lnTo>
                    <a:pt x="754" y="425"/>
                  </a:lnTo>
                  <a:lnTo>
                    <a:pt x="754" y="431"/>
                  </a:lnTo>
                  <a:lnTo>
                    <a:pt x="759" y="431"/>
                  </a:lnTo>
                  <a:lnTo>
                    <a:pt x="759" y="437"/>
                  </a:lnTo>
                  <a:lnTo>
                    <a:pt x="765" y="437"/>
                  </a:lnTo>
                  <a:lnTo>
                    <a:pt x="765" y="442"/>
                  </a:lnTo>
                  <a:lnTo>
                    <a:pt x="771" y="442"/>
                  </a:lnTo>
                  <a:lnTo>
                    <a:pt x="776" y="442"/>
                  </a:lnTo>
                  <a:lnTo>
                    <a:pt x="782" y="442"/>
                  </a:lnTo>
                  <a:lnTo>
                    <a:pt x="788" y="442"/>
                  </a:lnTo>
                  <a:lnTo>
                    <a:pt x="793" y="442"/>
                  </a:lnTo>
                  <a:lnTo>
                    <a:pt x="805" y="442"/>
                  </a:lnTo>
                  <a:lnTo>
                    <a:pt x="810" y="442"/>
                  </a:lnTo>
                  <a:lnTo>
                    <a:pt x="822" y="442"/>
                  </a:lnTo>
                  <a:lnTo>
                    <a:pt x="833" y="442"/>
                  </a:lnTo>
                  <a:lnTo>
                    <a:pt x="844" y="442"/>
                  </a:lnTo>
                  <a:lnTo>
                    <a:pt x="850" y="442"/>
                  </a:lnTo>
                  <a:lnTo>
                    <a:pt x="856" y="448"/>
                  </a:lnTo>
                  <a:lnTo>
                    <a:pt x="861" y="454"/>
                  </a:lnTo>
                  <a:lnTo>
                    <a:pt x="873" y="454"/>
                  </a:lnTo>
                  <a:lnTo>
                    <a:pt x="878" y="459"/>
                  </a:lnTo>
                  <a:lnTo>
                    <a:pt x="890" y="459"/>
                  </a:lnTo>
                  <a:lnTo>
                    <a:pt x="901" y="459"/>
                  </a:lnTo>
                  <a:lnTo>
                    <a:pt x="901" y="465"/>
                  </a:lnTo>
                  <a:lnTo>
                    <a:pt x="907" y="465"/>
                  </a:lnTo>
                  <a:lnTo>
                    <a:pt x="907" y="471"/>
                  </a:lnTo>
                  <a:lnTo>
                    <a:pt x="912" y="471"/>
                  </a:lnTo>
                  <a:lnTo>
                    <a:pt x="918" y="476"/>
                  </a:lnTo>
                  <a:lnTo>
                    <a:pt x="918" y="482"/>
                  </a:lnTo>
                  <a:lnTo>
                    <a:pt x="918" y="493"/>
                  </a:lnTo>
                  <a:lnTo>
                    <a:pt x="918" y="499"/>
                  </a:lnTo>
                  <a:lnTo>
                    <a:pt x="924" y="505"/>
                  </a:lnTo>
                  <a:lnTo>
                    <a:pt x="924" y="510"/>
                  </a:lnTo>
                  <a:lnTo>
                    <a:pt x="929" y="510"/>
                  </a:lnTo>
                  <a:lnTo>
                    <a:pt x="929" y="516"/>
                  </a:lnTo>
                  <a:lnTo>
                    <a:pt x="935" y="522"/>
                  </a:lnTo>
                  <a:lnTo>
                    <a:pt x="941" y="527"/>
                  </a:lnTo>
                  <a:lnTo>
                    <a:pt x="946" y="527"/>
                  </a:lnTo>
                  <a:lnTo>
                    <a:pt x="946" y="533"/>
                  </a:lnTo>
                  <a:lnTo>
                    <a:pt x="952" y="533"/>
                  </a:lnTo>
                  <a:lnTo>
                    <a:pt x="963" y="544"/>
                  </a:lnTo>
                  <a:lnTo>
                    <a:pt x="969" y="550"/>
                  </a:lnTo>
                  <a:lnTo>
                    <a:pt x="975" y="550"/>
                  </a:lnTo>
                  <a:lnTo>
                    <a:pt x="975" y="556"/>
                  </a:lnTo>
                  <a:lnTo>
                    <a:pt x="975" y="561"/>
                  </a:lnTo>
                  <a:lnTo>
                    <a:pt x="980" y="567"/>
                  </a:lnTo>
                  <a:lnTo>
                    <a:pt x="986" y="567"/>
                  </a:lnTo>
                  <a:lnTo>
                    <a:pt x="986" y="573"/>
                  </a:lnTo>
                  <a:lnTo>
                    <a:pt x="986" y="578"/>
                  </a:lnTo>
                  <a:lnTo>
                    <a:pt x="992" y="584"/>
                  </a:lnTo>
                  <a:lnTo>
                    <a:pt x="992" y="590"/>
                  </a:lnTo>
                  <a:lnTo>
                    <a:pt x="992" y="595"/>
                  </a:lnTo>
                  <a:lnTo>
                    <a:pt x="997" y="607"/>
                  </a:lnTo>
                  <a:lnTo>
                    <a:pt x="997" y="612"/>
                  </a:lnTo>
                  <a:lnTo>
                    <a:pt x="997" y="624"/>
                  </a:lnTo>
                  <a:lnTo>
                    <a:pt x="992" y="635"/>
                  </a:lnTo>
                  <a:lnTo>
                    <a:pt x="992" y="652"/>
                  </a:lnTo>
                  <a:lnTo>
                    <a:pt x="992" y="663"/>
                  </a:lnTo>
                  <a:lnTo>
                    <a:pt x="992" y="669"/>
                  </a:lnTo>
                  <a:lnTo>
                    <a:pt x="992" y="675"/>
                  </a:lnTo>
                  <a:lnTo>
                    <a:pt x="992" y="686"/>
                  </a:lnTo>
                  <a:lnTo>
                    <a:pt x="992" y="692"/>
                  </a:lnTo>
                  <a:lnTo>
                    <a:pt x="997" y="692"/>
                  </a:lnTo>
                  <a:lnTo>
                    <a:pt x="997" y="697"/>
                  </a:lnTo>
                  <a:lnTo>
                    <a:pt x="997" y="703"/>
                  </a:lnTo>
                  <a:lnTo>
                    <a:pt x="997" y="709"/>
                  </a:lnTo>
                  <a:lnTo>
                    <a:pt x="1003" y="709"/>
                  </a:lnTo>
                  <a:lnTo>
                    <a:pt x="1009" y="709"/>
                  </a:lnTo>
                  <a:lnTo>
                    <a:pt x="1014" y="709"/>
                  </a:lnTo>
                  <a:lnTo>
                    <a:pt x="1026" y="714"/>
                  </a:lnTo>
                  <a:lnTo>
                    <a:pt x="1031" y="720"/>
                  </a:lnTo>
                  <a:lnTo>
                    <a:pt x="1037" y="720"/>
                  </a:lnTo>
                  <a:lnTo>
                    <a:pt x="1043" y="720"/>
                  </a:lnTo>
                  <a:lnTo>
                    <a:pt x="1043" y="726"/>
                  </a:lnTo>
                  <a:lnTo>
                    <a:pt x="1048" y="726"/>
                  </a:lnTo>
                  <a:lnTo>
                    <a:pt x="1048" y="731"/>
                  </a:lnTo>
                  <a:lnTo>
                    <a:pt x="1054" y="731"/>
                  </a:lnTo>
                  <a:lnTo>
                    <a:pt x="1054" y="737"/>
                  </a:lnTo>
                  <a:lnTo>
                    <a:pt x="1048" y="743"/>
                  </a:lnTo>
                  <a:lnTo>
                    <a:pt x="1043" y="743"/>
                  </a:lnTo>
                  <a:lnTo>
                    <a:pt x="1043" y="748"/>
                  </a:lnTo>
                  <a:lnTo>
                    <a:pt x="1037" y="748"/>
                  </a:lnTo>
                  <a:lnTo>
                    <a:pt x="1031" y="748"/>
                  </a:lnTo>
                  <a:lnTo>
                    <a:pt x="1031" y="754"/>
                  </a:lnTo>
                  <a:lnTo>
                    <a:pt x="1026" y="754"/>
                  </a:lnTo>
                  <a:lnTo>
                    <a:pt x="1020" y="760"/>
                  </a:lnTo>
                  <a:lnTo>
                    <a:pt x="1014" y="760"/>
                  </a:lnTo>
                  <a:lnTo>
                    <a:pt x="1014" y="766"/>
                  </a:lnTo>
                  <a:lnTo>
                    <a:pt x="1009" y="766"/>
                  </a:lnTo>
                  <a:lnTo>
                    <a:pt x="1003" y="766"/>
                  </a:lnTo>
                  <a:lnTo>
                    <a:pt x="1003" y="771"/>
                  </a:lnTo>
                  <a:lnTo>
                    <a:pt x="997" y="777"/>
                  </a:lnTo>
                  <a:lnTo>
                    <a:pt x="997" y="783"/>
                  </a:lnTo>
                  <a:lnTo>
                    <a:pt x="997" y="788"/>
                  </a:lnTo>
                  <a:lnTo>
                    <a:pt x="992" y="788"/>
                  </a:lnTo>
                  <a:lnTo>
                    <a:pt x="992" y="794"/>
                  </a:lnTo>
                  <a:lnTo>
                    <a:pt x="992" y="800"/>
                  </a:lnTo>
                  <a:lnTo>
                    <a:pt x="997" y="800"/>
                  </a:lnTo>
                  <a:lnTo>
                    <a:pt x="1003" y="800"/>
                  </a:lnTo>
                  <a:lnTo>
                    <a:pt x="1003" y="805"/>
                  </a:lnTo>
                  <a:lnTo>
                    <a:pt x="1009" y="805"/>
                  </a:lnTo>
                  <a:lnTo>
                    <a:pt x="1014" y="811"/>
                  </a:lnTo>
                  <a:lnTo>
                    <a:pt x="1014" y="817"/>
                  </a:lnTo>
                  <a:lnTo>
                    <a:pt x="1020" y="828"/>
                  </a:lnTo>
                  <a:lnTo>
                    <a:pt x="1026" y="834"/>
                  </a:lnTo>
                  <a:lnTo>
                    <a:pt x="1031" y="834"/>
                  </a:lnTo>
                  <a:lnTo>
                    <a:pt x="1031" y="839"/>
                  </a:lnTo>
                  <a:lnTo>
                    <a:pt x="1037" y="839"/>
                  </a:lnTo>
                  <a:lnTo>
                    <a:pt x="1043" y="845"/>
                  </a:lnTo>
                  <a:lnTo>
                    <a:pt x="1054" y="851"/>
                  </a:lnTo>
                  <a:lnTo>
                    <a:pt x="1060" y="851"/>
                  </a:lnTo>
                  <a:lnTo>
                    <a:pt x="1065" y="856"/>
                  </a:lnTo>
                  <a:lnTo>
                    <a:pt x="1071" y="856"/>
                  </a:lnTo>
                  <a:lnTo>
                    <a:pt x="1071" y="862"/>
                  </a:lnTo>
                  <a:lnTo>
                    <a:pt x="1077" y="862"/>
                  </a:lnTo>
                  <a:lnTo>
                    <a:pt x="1077" y="868"/>
                  </a:lnTo>
                  <a:lnTo>
                    <a:pt x="1082" y="868"/>
                  </a:lnTo>
                  <a:lnTo>
                    <a:pt x="1082" y="873"/>
                  </a:lnTo>
                  <a:lnTo>
                    <a:pt x="1082" y="879"/>
                  </a:lnTo>
                  <a:lnTo>
                    <a:pt x="1082" y="885"/>
                  </a:lnTo>
                  <a:lnTo>
                    <a:pt x="1088" y="885"/>
                  </a:lnTo>
                  <a:lnTo>
                    <a:pt x="1088" y="890"/>
                  </a:lnTo>
                  <a:lnTo>
                    <a:pt x="1094" y="902"/>
                  </a:lnTo>
                  <a:lnTo>
                    <a:pt x="1094" y="907"/>
                  </a:lnTo>
                  <a:lnTo>
                    <a:pt x="1094" y="913"/>
                  </a:lnTo>
                  <a:lnTo>
                    <a:pt x="1094" y="919"/>
                  </a:lnTo>
                  <a:lnTo>
                    <a:pt x="1099" y="924"/>
                  </a:lnTo>
                  <a:lnTo>
                    <a:pt x="1099" y="930"/>
                  </a:lnTo>
                  <a:lnTo>
                    <a:pt x="1099" y="936"/>
                  </a:lnTo>
                  <a:lnTo>
                    <a:pt x="1099" y="941"/>
                  </a:lnTo>
                  <a:lnTo>
                    <a:pt x="1099" y="947"/>
                  </a:lnTo>
                  <a:lnTo>
                    <a:pt x="1099" y="964"/>
                  </a:lnTo>
                  <a:lnTo>
                    <a:pt x="1099" y="970"/>
                  </a:lnTo>
                  <a:lnTo>
                    <a:pt x="1099" y="975"/>
                  </a:lnTo>
                  <a:lnTo>
                    <a:pt x="1099" y="987"/>
                  </a:lnTo>
                  <a:lnTo>
                    <a:pt x="1094" y="992"/>
                  </a:lnTo>
                  <a:lnTo>
                    <a:pt x="1094" y="998"/>
                  </a:lnTo>
                  <a:lnTo>
                    <a:pt x="1088" y="998"/>
                  </a:lnTo>
                  <a:lnTo>
                    <a:pt x="1082" y="998"/>
                  </a:lnTo>
                  <a:lnTo>
                    <a:pt x="1082" y="1004"/>
                  </a:lnTo>
                  <a:lnTo>
                    <a:pt x="1082" y="1009"/>
                  </a:lnTo>
                  <a:lnTo>
                    <a:pt x="1077" y="1009"/>
                  </a:lnTo>
                  <a:lnTo>
                    <a:pt x="1071" y="1015"/>
                  </a:lnTo>
                  <a:lnTo>
                    <a:pt x="1065" y="1015"/>
                  </a:lnTo>
                  <a:lnTo>
                    <a:pt x="1065" y="1021"/>
                  </a:lnTo>
                  <a:lnTo>
                    <a:pt x="1065" y="1026"/>
                  </a:lnTo>
                  <a:lnTo>
                    <a:pt x="1060" y="1026"/>
                  </a:lnTo>
                  <a:lnTo>
                    <a:pt x="1054" y="1026"/>
                  </a:lnTo>
                  <a:lnTo>
                    <a:pt x="1048" y="1032"/>
                  </a:lnTo>
                  <a:lnTo>
                    <a:pt x="1043" y="1038"/>
                  </a:lnTo>
                  <a:lnTo>
                    <a:pt x="1037" y="1038"/>
                  </a:lnTo>
                  <a:lnTo>
                    <a:pt x="1031" y="1038"/>
                  </a:lnTo>
                  <a:lnTo>
                    <a:pt x="1031" y="1043"/>
                  </a:lnTo>
                  <a:lnTo>
                    <a:pt x="1026" y="1043"/>
                  </a:lnTo>
                  <a:lnTo>
                    <a:pt x="1020" y="1043"/>
                  </a:lnTo>
                  <a:lnTo>
                    <a:pt x="1014" y="1043"/>
                  </a:lnTo>
                  <a:lnTo>
                    <a:pt x="1009" y="1043"/>
                  </a:lnTo>
                  <a:lnTo>
                    <a:pt x="1003" y="1049"/>
                  </a:lnTo>
                  <a:lnTo>
                    <a:pt x="997" y="1049"/>
                  </a:lnTo>
                  <a:lnTo>
                    <a:pt x="997" y="1055"/>
                  </a:lnTo>
                  <a:lnTo>
                    <a:pt x="992" y="1055"/>
                  </a:lnTo>
                  <a:lnTo>
                    <a:pt x="975" y="1055"/>
                  </a:lnTo>
                  <a:lnTo>
                    <a:pt x="963" y="1055"/>
                  </a:lnTo>
                  <a:lnTo>
                    <a:pt x="958" y="1060"/>
                  </a:lnTo>
                  <a:lnTo>
                    <a:pt x="952" y="1060"/>
                  </a:lnTo>
                  <a:lnTo>
                    <a:pt x="946" y="1066"/>
                  </a:lnTo>
                  <a:lnTo>
                    <a:pt x="941" y="1066"/>
                  </a:lnTo>
                  <a:lnTo>
                    <a:pt x="935" y="1066"/>
                  </a:lnTo>
                  <a:lnTo>
                    <a:pt x="929" y="1066"/>
                  </a:lnTo>
                  <a:lnTo>
                    <a:pt x="929" y="1072"/>
                  </a:lnTo>
                  <a:lnTo>
                    <a:pt x="924" y="1072"/>
                  </a:lnTo>
                  <a:lnTo>
                    <a:pt x="924" y="1066"/>
                  </a:lnTo>
                  <a:lnTo>
                    <a:pt x="918" y="1072"/>
                  </a:lnTo>
                  <a:lnTo>
                    <a:pt x="907" y="1066"/>
                  </a:lnTo>
                  <a:lnTo>
                    <a:pt x="901" y="1066"/>
                  </a:lnTo>
                  <a:lnTo>
                    <a:pt x="895" y="1066"/>
                  </a:lnTo>
                  <a:lnTo>
                    <a:pt x="895" y="1060"/>
                  </a:lnTo>
                  <a:lnTo>
                    <a:pt x="890" y="1060"/>
                  </a:lnTo>
                  <a:lnTo>
                    <a:pt x="884" y="1060"/>
                  </a:lnTo>
                  <a:lnTo>
                    <a:pt x="878" y="1060"/>
                  </a:lnTo>
                  <a:lnTo>
                    <a:pt x="861" y="1060"/>
                  </a:lnTo>
                  <a:lnTo>
                    <a:pt x="850" y="1060"/>
                  </a:lnTo>
                  <a:lnTo>
                    <a:pt x="833" y="1055"/>
                  </a:lnTo>
                  <a:lnTo>
                    <a:pt x="827" y="1055"/>
                  </a:lnTo>
                  <a:lnTo>
                    <a:pt x="816" y="1055"/>
                  </a:lnTo>
                  <a:lnTo>
                    <a:pt x="805" y="1055"/>
                  </a:lnTo>
                  <a:lnTo>
                    <a:pt x="793" y="1049"/>
                  </a:lnTo>
                  <a:lnTo>
                    <a:pt x="788" y="1049"/>
                  </a:lnTo>
                  <a:lnTo>
                    <a:pt x="776" y="1049"/>
                  </a:lnTo>
                  <a:lnTo>
                    <a:pt x="771" y="1055"/>
                  </a:lnTo>
                  <a:lnTo>
                    <a:pt x="765" y="1055"/>
                  </a:lnTo>
                  <a:lnTo>
                    <a:pt x="759" y="1055"/>
                  </a:lnTo>
                  <a:lnTo>
                    <a:pt x="754" y="1055"/>
                  </a:lnTo>
                  <a:lnTo>
                    <a:pt x="748" y="1060"/>
                  </a:lnTo>
                  <a:lnTo>
                    <a:pt x="742" y="1060"/>
                  </a:lnTo>
                  <a:lnTo>
                    <a:pt x="742" y="1066"/>
                  </a:lnTo>
                  <a:lnTo>
                    <a:pt x="737" y="1066"/>
                  </a:lnTo>
                  <a:lnTo>
                    <a:pt x="731" y="1066"/>
                  </a:lnTo>
                  <a:lnTo>
                    <a:pt x="725" y="1072"/>
                  </a:lnTo>
                  <a:lnTo>
                    <a:pt x="720" y="1072"/>
                  </a:lnTo>
                  <a:lnTo>
                    <a:pt x="720" y="1077"/>
                  </a:lnTo>
                  <a:lnTo>
                    <a:pt x="714" y="1077"/>
                  </a:lnTo>
                  <a:lnTo>
                    <a:pt x="708" y="1083"/>
                  </a:lnTo>
                  <a:lnTo>
                    <a:pt x="703" y="1083"/>
                  </a:lnTo>
                  <a:lnTo>
                    <a:pt x="697" y="1083"/>
                  </a:lnTo>
                  <a:lnTo>
                    <a:pt x="686" y="1083"/>
                  </a:lnTo>
                  <a:lnTo>
                    <a:pt x="680" y="1083"/>
                  </a:lnTo>
                  <a:lnTo>
                    <a:pt x="674" y="1083"/>
                  </a:lnTo>
                  <a:lnTo>
                    <a:pt x="657" y="1089"/>
                  </a:lnTo>
                  <a:lnTo>
                    <a:pt x="652" y="1083"/>
                  </a:lnTo>
                  <a:lnTo>
                    <a:pt x="646" y="1083"/>
                  </a:lnTo>
                  <a:lnTo>
                    <a:pt x="640" y="1083"/>
                  </a:lnTo>
                  <a:lnTo>
                    <a:pt x="640" y="1077"/>
                  </a:lnTo>
                  <a:lnTo>
                    <a:pt x="635" y="1072"/>
                  </a:lnTo>
                  <a:lnTo>
                    <a:pt x="629" y="1066"/>
                  </a:lnTo>
                  <a:lnTo>
                    <a:pt x="618" y="1060"/>
                  </a:lnTo>
                  <a:lnTo>
                    <a:pt x="612" y="1055"/>
                  </a:lnTo>
                  <a:lnTo>
                    <a:pt x="606" y="1055"/>
                  </a:lnTo>
                  <a:lnTo>
                    <a:pt x="606" y="1049"/>
                  </a:lnTo>
                  <a:lnTo>
                    <a:pt x="601" y="1049"/>
                  </a:lnTo>
                  <a:lnTo>
                    <a:pt x="595" y="1043"/>
                  </a:lnTo>
                  <a:lnTo>
                    <a:pt x="589" y="1043"/>
                  </a:lnTo>
                  <a:lnTo>
                    <a:pt x="584" y="1038"/>
                  </a:lnTo>
                  <a:lnTo>
                    <a:pt x="578" y="1038"/>
                  </a:lnTo>
                  <a:lnTo>
                    <a:pt x="572" y="1032"/>
                  </a:lnTo>
                  <a:lnTo>
                    <a:pt x="572" y="1026"/>
                  </a:lnTo>
                  <a:lnTo>
                    <a:pt x="567" y="1026"/>
                  </a:lnTo>
                  <a:lnTo>
                    <a:pt x="561" y="1026"/>
                  </a:lnTo>
                  <a:lnTo>
                    <a:pt x="550" y="1026"/>
                  </a:lnTo>
                  <a:lnTo>
                    <a:pt x="550" y="1021"/>
                  </a:lnTo>
                  <a:lnTo>
                    <a:pt x="538" y="1015"/>
                  </a:lnTo>
                  <a:lnTo>
                    <a:pt x="521" y="1015"/>
                  </a:lnTo>
                  <a:lnTo>
                    <a:pt x="516" y="1015"/>
                  </a:lnTo>
                  <a:lnTo>
                    <a:pt x="510" y="1009"/>
                  </a:lnTo>
                  <a:lnTo>
                    <a:pt x="504" y="1009"/>
                  </a:lnTo>
                  <a:lnTo>
                    <a:pt x="504" y="1004"/>
                  </a:lnTo>
                  <a:lnTo>
                    <a:pt x="504" y="998"/>
                  </a:lnTo>
                  <a:lnTo>
                    <a:pt x="499" y="998"/>
                  </a:lnTo>
                  <a:lnTo>
                    <a:pt x="493" y="998"/>
                  </a:lnTo>
                  <a:lnTo>
                    <a:pt x="487" y="992"/>
                  </a:lnTo>
                  <a:lnTo>
                    <a:pt x="482" y="987"/>
                  </a:lnTo>
                  <a:lnTo>
                    <a:pt x="476" y="987"/>
                  </a:lnTo>
                  <a:lnTo>
                    <a:pt x="465" y="981"/>
                  </a:lnTo>
                  <a:lnTo>
                    <a:pt x="453" y="981"/>
                  </a:lnTo>
                  <a:lnTo>
                    <a:pt x="448" y="981"/>
                  </a:lnTo>
                  <a:lnTo>
                    <a:pt x="442" y="981"/>
                  </a:lnTo>
                  <a:lnTo>
                    <a:pt x="436" y="975"/>
                  </a:lnTo>
                  <a:lnTo>
                    <a:pt x="425" y="970"/>
                  </a:lnTo>
                  <a:lnTo>
                    <a:pt x="419" y="970"/>
                  </a:lnTo>
                  <a:lnTo>
                    <a:pt x="408" y="970"/>
                  </a:lnTo>
                  <a:lnTo>
                    <a:pt x="402" y="970"/>
                  </a:lnTo>
                  <a:lnTo>
                    <a:pt x="396" y="975"/>
                  </a:lnTo>
                  <a:lnTo>
                    <a:pt x="391" y="981"/>
                  </a:lnTo>
                  <a:lnTo>
                    <a:pt x="391" y="987"/>
                  </a:lnTo>
                  <a:lnTo>
                    <a:pt x="396" y="987"/>
                  </a:lnTo>
                  <a:lnTo>
                    <a:pt x="402" y="987"/>
                  </a:lnTo>
                  <a:lnTo>
                    <a:pt x="402" y="992"/>
                  </a:lnTo>
                  <a:lnTo>
                    <a:pt x="402" y="998"/>
                  </a:lnTo>
                  <a:lnTo>
                    <a:pt x="408" y="998"/>
                  </a:lnTo>
                  <a:lnTo>
                    <a:pt x="408" y="1004"/>
                  </a:lnTo>
                  <a:lnTo>
                    <a:pt x="413" y="1009"/>
                  </a:lnTo>
                  <a:lnTo>
                    <a:pt x="413" y="1015"/>
                  </a:lnTo>
                  <a:lnTo>
                    <a:pt x="408" y="1021"/>
                  </a:lnTo>
                  <a:lnTo>
                    <a:pt x="391" y="1026"/>
                  </a:lnTo>
                  <a:lnTo>
                    <a:pt x="379" y="1026"/>
                  </a:lnTo>
                  <a:lnTo>
                    <a:pt x="379" y="1032"/>
                  </a:lnTo>
                  <a:lnTo>
                    <a:pt x="374" y="1038"/>
                  </a:lnTo>
                  <a:lnTo>
                    <a:pt x="374" y="1043"/>
                  </a:lnTo>
                  <a:lnTo>
                    <a:pt x="374" y="1049"/>
                  </a:lnTo>
                  <a:lnTo>
                    <a:pt x="368" y="1049"/>
                  </a:lnTo>
                  <a:lnTo>
                    <a:pt x="368" y="1055"/>
                  </a:lnTo>
                  <a:lnTo>
                    <a:pt x="362" y="1055"/>
                  </a:lnTo>
                  <a:lnTo>
                    <a:pt x="362" y="1060"/>
                  </a:lnTo>
                  <a:lnTo>
                    <a:pt x="357" y="1060"/>
                  </a:lnTo>
                  <a:lnTo>
                    <a:pt x="345" y="1066"/>
                  </a:lnTo>
                  <a:lnTo>
                    <a:pt x="328" y="1066"/>
                  </a:lnTo>
                  <a:lnTo>
                    <a:pt x="317" y="1066"/>
                  </a:lnTo>
                  <a:lnTo>
                    <a:pt x="311" y="1066"/>
                  </a:lnTo>
                  <a:lnTo>
                    <a:pt x="294" y="1066"/>
                  </a:lnTo>
                  <a:lnTo>
                    <a:pt x="283" y="1066"/>
                  </a:lnTo>
                  <a:lnTo>
                    <a:pt x="277" y="1066"/>
                  </a:lnTo>
                  <a:lnTo>
                    <a:pt x="272" y="1066"/>
                  </a:lnTo>
                  <a:lnTo>
                    <a:pt x="266" y="1066"/>
                  </a:lnTo>
                  <a:lnTo>
                    <a:pt x="238" y="1060"/>
                  </a:lnTo>
                  <a:lnTo>
                    <a:pt x="232" y="1055"/>
                  </a:lnTo>
                  <a:lnTo>
                    <a:pt x="226" y="1055"/>
                  </a:lnTo>
                  <a:lnTo>
                    <a:pt x="221" y="1055"/>
                  </a:lnTo>
                  <a:lnTo>
                    <a:pt x="221" y="1049"/>
                  </a:lnTo>
                  <a:lnTo>
                    <a:pt x="215" y="1049"/>
                  </a:lnTo>
                  <a:lnTo>
                    <a:pt x="215" y="1043"/>
                  </a:lnTo>
                  <a:lnTo>
                    <a:pt x="209" y="1043"/>
                  </a:lnTo>
                  <a:lnTo>
                    <a:pt x="209" y="1038"/>
                  </a:lnTo>
                  <a:lnTo>
                    <a:pt x="204" y="1038"/>
                  </a:lnTo>
                  <a:lnTo>
                    <a:pt x="198" y="1032"/>
                  </a:lnTo>
                  <a:lnTo>
                    <a:pt x="198" y="1026"/>
                  </a:lnTo>
                  <a:lnTo>
                    <a:pt x="198" y="1021"/>
                  </a:lnTo>
                  <a:lnTo>
                    <a:pt x="192" y="1015"/>
                  </a:lnTo>
                  <a:lnTo>
                    <a:pt x="192" y="1009"/>
                  </a:lnTo>
                  <a:lnTo>
                    <a:pt x="187" y="1009"/>
                  </a:lnTo>
                  <a:lnTo>
                    <a:pt x="181" y="1009"/>
                  </a:lnTo>
                  <a:lnTo>
                    <a:pt x="175" y="1009"/>
                  </a:lnTo>
                  <a:lnTo>
                    <a:pt x="170" y="1009"/>
                  </a:lnTo>
                  <a:lnTo>
                    <a:pt x="164" y="1009"/>
                  </a:lnTo>
                  <a:lnTo>
                    <a:pt x="164" y="1004"/>
                  </a:lnTo>
                  <a:lnTo>
                    <a:pt x="164" y="998"/>
                  </a:lnTo>
                  <a:lnTo>
                    <a:pt x="158" y="992"/>
                  </a:lnTo>
                  <a:lnTo>
                    <a:pt x="158" y="987"/>
                  </a:lnTo>
                  <a:lnTo>
                    <a:pt x="164" y="975"/>
                  </a:lnTo>
                  <a:lnTo>
                    <a:pt x="164" y="970"/>
                  </a:lnTo>
                  <a:lnTo>
                    <a:pt x="170" y="970"/>
                  </a:lnTo>
                  <a:lnTo>
                    <a:pt x="170" y="964"/>
                  </a:lnTo>
                  <a:lnTo>
                    <a:pt x="170" y="958"/>
                  </a:lnTo>
                  <a:lnTo>
                    <a:pt x="175" y="947"/>
                  </a:lnTo>
                  <a:lnTo>
                    <a:pt x="175" y="941"/>
                  </a:lnTo>
                  <a:lnTo>
                    <a:pt x="175" y="936"/>
                  </a:lnTo>
                  <a:lnTo>
                    <a:pt x="175" y="930"/>
                  </a:lnTo>
                  <a:lnTo>
                    <a:pt x="170" y="930"/>
                  </a:lnTo>
                  <a:lnTo>
                    <a:pt x="170" y="924"/>
                  </a:lnTo>
                  <a:lnTo>
                    <a:pt x="170" y="919"/>
                  </a:lnTo>
                  <a:lnTo>
                    <a:pt x="164" y="913"/>
                  </a:lnTo>
                  <a:lnTo>
                    <a:pt x="164" y="907"/>
                  </a:lnTo>
                  <a:lnTo>
                    <a:pt x="153" y="902"/>
                  </a:lnTo>
                  <a:lnTo>
                    <a:pt x="153" y="896"/>
                  </a:lnTo>
                  <a:lnTo>
                    <a:pt x="147" y="896"/>
                  </a:lnTo>
                  <a:lnTo>
                    <a:pt x="136" y="890"/>
                  </a:lnTo>
                  <a:lnTo>
                    <a:pt x="130" y="890"/>
                  </a:lnTo>
                  <a:lnTo>
                    <a:pt x="124" y="890"/>
                  </a:lnTo>
                  <a:lnTo>
                    <a:pt x="119" y="896"/>
                  </a:lnTo>
                  <a:lnTo>
                    <a:pt x="113" y="902"/>
                  </a:lnTo>
                  <a:lnTo>
                    <a:pt x="107" y="902"/>
                  </a:lnTo>
                  <a:lnTo>
                    <a:pt x="102" y="907"/>
                  </a:lnTo>
                  <a:lnTo>
                    <a:pt x="96" y="913"/>
                  </a:lnTo>
                  <a:lnTo>
                    <a:pt x="96" y="907"/>
                  </a:lnTo>
                  <a:lnTo>
                    <a:pt x="90" y="902"/>
                  </a:lnTo>
                  <a:lnTo>
                    <a:pt x="90" y="896"/>
                  </a:lnTo>
                  <a:lnTo>
                    <a:pt x="90" y="890"/>
                  </a:lnTo>
                  <a:lnTo>
                    <a:pt x="90" y="879"/>
                  </a:lnTo>
                  <a:lnTo>
                    <a:pt x="90" y="868"/>
                  </a:lnTo>
                  <a:lnTo>
                    <a:pt x="90" y="862"/>
                  </a:lnTo>
                  <a:lnTo>
                    <a:pt x="90" y="856"/>
                  </a:lnTo>
                  <a:lnTo>
                    <a:pt x="90" y="851"/>
                  </a:lnTo>
                  <a:lnTo>
                    <a:pt x="90" y="845"/>
                  </a:lnTo>
                  <a:lnTo>
                    <a:pt x="85" y="839"/>
                  </a:lnTo>
                  <a:lnTo>
                    <a:pt x="85" y="834"/>
                  </a:lnTo>
                  <a:lnTo>
                    <a:pt x="85" y="828"/>
                  </a:lnTo>
                  <a:lnTo>
                    <a:pt x="79" y="822"/>
                  </a:lnTo>
                  <a:lnTo>
                    <a:pt x="79" y="817"/>
                  </a:lnTo>
                  <a:lnTo>
                    <a:pt x="79" y="811"/>
                  </a:lnTo>
                  <a:lnTo>
                    <a:pt x="79" y="805"/>
                  </a:lnTo>
                  <a:lnTo>
                    <a:pt x="79" y="800"/>
                  </a:lnTo>
                  <a:lnTo>
                    <a:pt x="79" y="794"/>
                  </a:lnTo>
                  <a:lnTo>
                    <a:pt x="79" y="788"/>
                  </a:lnTo>
                  <a:lnTo>
                    <a:pt x="73" y="788"/>
                  </a:lnTo>
                  <a:lnTo>
                    <a:pt x="73" y="783"/>
                  </a:lnTo>
                  <a:lnTo>
                    <a:pt x="68" y="783"/>
                  </a:lnTo>
                  <a:lnTo>
                    <a:pt x="62" y="777"/>
                  </a:lnTo>
                  <a:lnTo>
                    <a:pt x="56" y="777"/>
                  </a:lnTo>
                  <a:lnTo>
                    <a:pt x="51" y="777"/>
                  </a:lnTo>
                  <a:lnTo>
                    <a:pt x="45" y="777"/>
                  </a:lnTo>
                  <a:lnTo>
                    <a:pt x="34" y="777"/>
                  </a:lnTo>
                  <a:lnTo>
                    <a:pt x="28" y="771"/>
                  </a:lnTo>
                  <a:lnTo>
                    <a:pt x="28" y="766"/>
                  </a:lnTo>
                  <a:lnTo>
                    <a:pt x="22" y="766"/>
                  </a:lnTo>
                  <a:lnTo>
                    <a:pt x="17" y="766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26" name="Freeform 4"/>
            <p:cNvSpPr>
              <a:spLocks/>
            </p:cNvSpPr>
            <p:nvPr/>
          </p:nvSpPr>
          <p:spPr bwMode="gray">
            <a:xfrm>
              <a:off x="4605974" y="734621"/>
              <a:ext cx="1551622" cy="1778174"/>
            </a:xfrm>
            <a:custGeom>
              <a:avLst/>
              <a:gdLst>
                <a:gd name="T0" fmla="*/ 2147483647 w 1105"/>
                <a:gd name="T1" fmla="*/ 2147483647 h 1333"/>
                <a:gd name="T2" fmla="*/ 2147483647 w 1105"/>
                <a:gd name="T3" fmla="*/ 2147483647 h 1333"/>
                <a:gd name="T4" fmla="*/ 2147483647 w 1105"/>
                <a:gd name="T5" fmla="*/ 2147483647 h 1333"/>
                <a:gd name="T6" fmla="*/ 2147483647 w 1105"/>
                <a:gd name="T7" fmla="*/ 2147483647 h 1333"/>
                <a:gd name="T8" fmla="*/ 2147483647 w 1105"/>
                <a:gd name="T9" fmla="*/ 2147483647 h 1333"/>
                <a:gd name="T10" fmla="*/ 2147483647 w 1105"/>
                <a:gd name="T11" fmla="*/ 2147483647 h 1333"/>
                <a:gd name="T12" fmla="*/ 2147483647 w 1105"/>
                <a:gd name="T13" fmla="*/ 2147483647 h 1333"/>
                <a:gd name="T14" fmla="*/ 2147483647 w 1105"/>
                <a:gd name="T15" fmla="*/ 2147483647 h 1333"/>
                <a:gd name="T16" fmla="*/ 2147483647 w 1105"/>
                <a:gd name="T17" fmla="*/ 2147483647 h 1333"/>
                <a:gd name="T18" fmla="*/ 2147483647 w 1105"/>
                <a:gd name="T19" fmla="*/ 2147483647 h 1333"/>
                <a:gd name="T20" fmla="*/ 2147483647 w 1105"/>
                <a:gd name="T21" fmla="*/ 2147483647 h 1333"/>
                <a:gd name="T22" fmla="*/ 2147483647 w 1105"/>
                <a:gd name="T23" fmla="*/ 2147483647 h 1333"/>
                <a:gd name="T24" fmla="*/ 2147483647 w 1105"/>
                <a:gd name="T25" fmla="*/ 2147483647 h 1333"/>
                <a:gd name="T26" fmla="*/ 2147483647 w 1105"/>
                <a:gd name="T27" fmla="*/ 2147483647 h 1333"/>
                <a:gd name="T28" fmla="*/ 2147483647 w 1105"/>
                <a:gd name="T29" fmla="*/ 2147483647 h 1333"/>
                <a:gd name="T30" fmla="*/ 2147483647 w 1105"/>
                <a:gd name="T31" fmla="*/ 2147483647 h 1333"/>
                <a:gd name="T32" fmla="*/ 2147483647 w 1105"/>
                <a:gd name="T33" fmla="*/ 2147483647 h 1333"/>
                <a:gd name="T34" fmla="*/ 2147483647 w 1105"/>
                <a:gd name="T35" fmla="*/ 2147483647 h 1333"/>
                <a:gd name="T36" fmla="*/ 2147483647 w 1105"/>
                <a:gd name="T37" fmla="*/ 2147483647 h 1333"/>
                <a:gd name="T38" fmla="*/ 2147483647 w 1105"/>
                <a:gd name="T39" fmla="*/ 2147483647 h 1333"/>
                <a:gd name="T40" fmla="*/ 2147483647 w 1105"/>
                <a:gd name="T41" fmla="*/ 2147483647 h 1333"/>
                <a:gd name="T42" fmla="*/ 2147483647 w 1105"/>
                <a:gd name="T43" fmla="*/ 2147483647 h 1333"/>
                <a:gd name="T44" fmla="*/ 2147483647 w 1105"/>
                <a:gd name="T45" fmla="*/ 2147483647 h 1333"/>
                <a:gd name="T46" fmla="*/ 2147483647 w 1105"/>
                <a:gd name="T47" fmla="*/ 2147483647 h 1333"/>
                <a:gd name="T48" fmla="*/ 2147483647 w 1105"/>
                <a:gd name="T49" fmla="*/ 2147483647 h 1333"/>
                <a:gd name="T50" fmla="*/ 2147483647 w 1105"/>
                <a:gd name="T51" fmla="*/ 2147483647 h 1333"/>
                <a:gd name="T52" fmla="*/ 2147483647 w 1105"/>
                <a:gd name="T53" fmla="*/ 2147483647 h 1333"/>
                <a:gd name="T54" fmla="*/ 2147483647 w 1105"/>
                <a:gd name="T55" fmla="*/ 2147483647 h 1333"/>
                <a:gd name="T56" fmla="*/ 2147483647 w 1105"/>
                <a:gd name="T57" fmla="*/ 2147483647 h 1333"/>
                <a:gd name="T58" fmla="*/ 2147483647 w 1105"/>
                <a:gd name="T59" fmla="*/ 2147483647 h 1333"/>
                <a:gd name="T60" fmla="*/ 2147483647 w 1105"/>
                <a:gd name="T61" fmla="*/ 2147483647 h 1333"/>
                <a:gd name="T62" fmla="*/ 2147483647 w 1105"/>
                <a:gd name="T63" fmla="*/ 0 h 1333"/>
                <a:gd name="T64" fmla="*/ 2147483647 w 1105"/>
                <a:gd name="T65" fmla="*/ 0 h 1333"/>
                <a:gd name="T66" fmla="*/ 2147483647 w 1105"/>
                <a:gd name="T67" fmla="*/ 2147483647 h 1333"/>
                <a:gd name="T68" fmla="*/ 2147483647 w 1105"/>
                <a:gd name="T69" fmla="*/ 2147483647 h 1333"/>
                <a:gd name="T70" fmla="*/ 2147483647 w 1105"/>
                <a:gd name="T71" fmla="*/ 2147483647 h 1333"/>
                <a:gd name="T72" fmla="*/ 2147483647 w 1105"/>
                <a:gd name="T73" fmla="*/ 2147483647 h 1333"/>
                <a:gd name="T74" fmla="*/ 2147483647 w 1105"/>
                <a:gd name="T75" fmla="*/ 2147483647 h 1333"/>
                <a:gd name="T76" fmla="*/ 2147483647 w 1105"/>
                <a:gd name="T77" fmla="*/ 2147483647 h 1333"/>
                <a:gd name="T78" fmla="*/ 2147483647 w 1105"/>
                <a:gd name="T79" fmla="*/ 2147483647 h 1333"/>
                <a:gd name="T80" fmla="*/ 2147483647 w 1105"/>
                <a:gd name="T81" fmla="*/ 2147483647 h 1333"/>
                <a:gd name="T82" fmla="*/ 2147483647 w 1105"/>
                <a:gd name="T83" fmla="*/ 2147483647 h 1333"/>
                <a:gd name="T84" fmla="*/ 2147483647 w 1105"/>
                <a:gd name="T85" fmla="*/ 2147483647 h 1333"/>
                <a:gd name="T86" fmla="*/ 2147483647 w 1105"/>
                <a:gd name="T87" fmla="*/ 2147483647 h 1333"/>
                <a:gd name="T88" fmla="*/ 2147483647 w 1105"/>
                <a:gd name="T89" fmla="*/ 2147483647 h 1333"/>
                <a:gd name="T90" fmla="*/ 2147483647 w 1105"/>
                <a:gd name="T91" fmla="*/ 2147483647 h 1333"/>
                <a:gd name="T92" fmla="*/ 2147483647 w 1105"/>
                <a:gd name="T93" fmla="*/ 2147483647 h 1333"/>
                <a:gd name="T94" fmla="*/ 2147483647 w 1105"/>
                <a:gd name="T95" fmla="*/ 2147483647 h 1333"/>
                <a:gd name="T96" fmla="*/ 2147483647 w 1105"/>
                <a:gd name="T97" fmla="*/ 2147483647 h 1333"/>
                <a:gd name="T98" fmla="*/ 2147483647 w 1105"/>
                <a:gd name="T99" fmla="*/ 2147483647 h 1333"/>
                <a:gd name="T100" fmla="*/ 2147483647 w 1105"/>
                <a:gd name="T101" fmla="*/ 2147483647 h 1333"/>
                <a:gd name="T102" fmla="*/ 2147483647 w 1105"/>
                <a:gd name="T103" fmla="*/ 2147483647 h 1333"/>
                <a:gd name="T104" fmla="*/ 2147483647 w 1105"/>
                <a:gd name="T105" fmla="*/ 2147483647 h 1333"/>
                <a:gd name="T106" fmla="*/ 2147483647 w 1105"/>
                <a:gd name="T107" fmla="*/ 2147483647 h 1333"/>
                <a:gd name="T108" fmla="*/ 2147483647 w 1105"/>
                <a:gd name="T109" fmla="*/ 2147483647 h 1333"/>
                <a:gd name="T110" fmla="*/ 2147483647 w 1105"/>
                <a:gd name="T111" fmla="*/ 2147483647 h 1333"/>
                <a:gd name="T112" fmla="*/ 2147483647 w 1105"/>
                <a:gd name="T113" fmla="*/ 2147483647 h 1333"/>
                <a:gd name="T114" fmla="*/ 2147483647 w 1105"/>
                <a:gd name="T115" fmla="*/ 2147483647 h 1333"/>
                <a:gd name="T116" fmla="*/ 2147483647 w 1105"/>
                <a:gd name="T117" fmla="*/ 2147483647 h 1333"/>
                <a:gd name="T118" fmla="*/ 2147483647 w 1105"/>
                <a:gd name="T119" fmla="*/ 2147483647 h 1333"/>
                <a:gd name="T120" fmla="*/ 2147483647 w 1105"/>
                <a:gd name="T121" fmla="*/ 2147483647 h 1333"/>
                <a:gd name="T122" fmla="*/ 2147483647 w 1105"/>
                <a:gd name="T123" fmla="*/ 2147483647 h 1333"/>
                <a:gd name="T124" fmla="*/ 2147483647 w 1105"/>
                <a:gd name="T125" fmla="*/ 2147483647 h 133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05"/>
                <a:gd name="T190" fmla="*/ 0 h 1333"/>
                <a:gd name="T191" fmla="*/ 1105 w 1105"/>
                <a:gd name="T192" fmla="*/ 1333 h 133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05" h="1333">
                  <a:moveTo>
                    <a:pt x="96" y="1321"/>
                  </a:moveTo>
                  <a:lnTo>
                    <a:pt x="96" y="1316"/>
                  </a:lnTo>
                  <a:lnTo>
                    <a:pt x="90" y="1316"/>
                  </a:lnTo>
                  <a:lnTo>
                    <a:pt x="90" y="1310"/>
                  </a:lnTo>
                  <a:lnTo>
                    <a:pt x="90" y="1304"/>
                  </a:lnTo>
                  <a:lnTo>
                    <a:pt x="90" y="1299"/>
                  </a:lnTo>
                  <a:lnTo>
                    <a:pt x="85" y="1299"/>
                  </a:lnTo>
                  <a:lnTo>
                    <a:pt x="85" y="1293"/>
                  </a:lnTo>
                  <a:lnTo>
                    <a:pt x="79" y="1293"/>
                  </a:lnTo>
                  <a:lnTo>
                    <a:pt x="79" y="1287"/>
                  </a:lnTo>
                  <a:lnTo>
                    <a:pt x="73" y="1287"/>
                  </a:lnTo>
                  <a:lnTo>
                    <a:pt x="68" y="1282"/>
                  </a:lnTo>
                  <a:lnTo>
                    <a:pt x="62" y="1282"/>
                  </a:lnTo>
                  <a:lnTo>
                    <a:pt x="51" y="1276"/>
                  </a:lnTo>
                  <a:lnTo>
                    <a:pt x="45" y="1270"/>
                  </a:lnTo>
                  <a:lnTo>
                    <a:pt x="39" y="1270"/>
                  </a:lnTo>
                  <a:lnTo>
                    <a:pt x="39" y="1265"/>
                  </a:lnTo>
                  <a:lnTo>
                    <a:pt x="34" y="1265"/>
                  </a:lnTo>
                  <a:lnTo>
                    <a:pt x="28" y="1259"/>
                  </a:lnTo>
                  <a:lnTo>
                    <a:pt x="22" y="1248"/>
                  </a:lnTo>
                  <a:lnTo>
                    <a:pt x="22" y="1242"/>
                  </a:lnTo>
                  <a:lnTo>
                    <a:pt x="17" y="1236"/>
                  </a:lnTo>
                  <a:lnTo>
                    <a:pt x="11" y="1236"/>
                  </a:lnTo>
                  <a:lnTo>
                    <a:pt x="11" y="1231"/>
                  </a:lnTo>
                  <a:lnTo>
                    <a:pt x="5" y="1231"/>
                  </a:lnTo>
                  <a:lnTo>
                    <a:pt x="0" y="1231"/>
                  </a:lnTo>
                  <a:lnTo>
                    <a:pt x="0" y="1225"/>
                  </a:lnTo>
                  <a:lnTo>
                    <a:pt x="0" y="1219"/>
                  </a:lnTo>
                  <a:lnTo>
                    <a:pt x="5" y="1219"/>
                  </a:lnTo>
                  <a:lnTo>
                    <a:pt x="5" y="1214"/>
                  </a:lnTo>
                  <a:lnTo>
                    <a:pt x="5" y="1208"/>
                  </a:lnTo>
                  <a:lnTo>
                    <a:pt x="11" y="1202"/>
                  </a:lnTo>
                  <a:lnTo>
                    <a:pt x="11" y="1197"/>
                  </a:lnTo>
                  <a:lnTo>
                    <a:pt x="17" y="1197"/>
                  </a:lnTo>
                  <a:lnTo>
                    <a:pt x="22" y="1197"/>
                  </a:lnTo>
                  <a:lnTo>
                    <a:pt x="22" y="1191"/>
                  </a:lnTo>
                  <a:lnTo>
                    <a:pt x="28" y="1191"/>
                  </a:lnTo>
                  <a:lnTo>
                    <a:pt x="34" y="1185"/>
                  </a:lnTo>
                  <a:lnTo>
                    <a:pt x="39" y="1185"/>
                  </a:lnTo>
                  <a:lnTo>
                    <a:pt x="39" y="1179"/>
                  </a:lnTo>
                  <a:lnTo>
                    <a:pt x="45" y="1179"/>
                  </a:lnTo>
                  <a:lnTo>
                    <a:pt x="51" y="1179"/>
                  </a:lnTo>
                  <a:lnTo>
                    <a:pt x="51" y="1174"/>
                  </a:lnTo>
                  <a:lnTo>
                    <a:pt x="56" y="1174"/>
                  </a:lnTo>
                  <a:lnTo>
                    <a:pt x="62" y="1168"/>
                  </a:lnTo>
                  <a:lnTo>
                    <a:pt x="62" y="1162"/>
                  </a:lnTo>
                  <a:lnTo>
                    <a:pt x="56" y="1162"/>
                  </a:lnTo>
                  <a:lnTo>
                    <a:pt x="56" y="1157"/>
                  </a:lnTo>
                  <a:lnTo>
                    <a:pt x="51" y="1157"/>
                  </a:lnTo>
                  <a:lnTo>
                    <a:pt x="51" y="1151"/>
                  </a:lnTo>
                  <a:lnTo>
                    <a:pt x="45" y="1151"/>
                  </a:lnTo>
                  <a:lnTo>
                    <a:pt x="39" y="1151"/>
                  </a:lnTo>
                  <a:lnTo>
                    <a:pt x="34" y="1145"/>
                  </a:lnTo>
                  <a:lnTo>
                    <a:pt x="22" y="1140"/>
                  </a:lnTo>
                  <a:lnTo>
                    <a:pt x="17" y="1140"/>
                  </a:lnTo>
                  <a:lnTo>
                    <a:pt x="11" y="1140"/>
                  </a:lnTo>
                  <a:lnTo>
                    <a:pt x="5" y="1140"/>
                  </a:lnTo>
                  <a:lnTo>
                    <a:pt x="5" y="1134"/>
                  </a:lnTo>
                  <a:lnTo>
                    <a:pt x="5" y="1128"/>
                  </a:lnTo>
                  <a:lnTo>
                    <a:pt x="5" y="1123"/>
                  </a:lnTo>
                  <a:lnTo>
                    <a:pt x="11" y="1123"/>
                  </a:lnTo>
                  <a:lnTo>
                    <a:pt x="11" y="1117"/>
                  </a:lnTo>
                  <a:lnTo>
                    <a:pt x="22" y="1117"/>
                  </a:lnTo>
                  <a:lnTo>
                    <a:pt x="22" y="1111"/>
                  </a:lnTo>
                  <a:lnTo>
                    <a:pt x="28" y="1111"/>
                  </a:lnTo>
                  <a:lnTo>
                    <a:pt x="34" y="1111"/>
                  </a:lnTo>
                  <a:lnTo>
                    <a:pt x="39" y="1106"/>
                  </a:lnTo>
                  <a:lnTo>
                    <a:pt x="45" y="1100"/>
                  </a:lnTo>
                  <a:lnTo>
                    <a:pt x="45" y="1094"/>
                  </a:lnTo>
                  <a:lnTo>
                    <a:pt x="51" y="1094"/>
                  </a:lnTo>
                  <a:lnTo>
                    <a:pt x="51" y="1089"/>
                  </a:lnTo>
                  <a:lnTo>
                    <a:pt x="51" y="1083"/>
                  </a:lnTo>
                  <a:lnTo>
                    <a:pt x="51" y="1077"/>
                  </a:lnTo>
                  <a:lnTo>
                    <a:pt x="45" y="1066"/>
                  </a:lnTo>
                  <a:lnTo>
                    <a:pt x="45" y="1060"/>
                  </a:lnTo>
                  <a:lnTo>
                    <a:pt x="45" y="1055"/>
                  </a:lnTo>
                  <a:lnTo>
                    <a:pt x="45" y="1049"/>
                  </a:lnTo>
                  <a:lnTo>
                    <a:pt x="51" y="1038"/>
                  </a:lnTo>
                  <a:lnTo>
                    <a:pt x="51" y="1032"/>
                  </a:lnTo>
                  <a:lnTo>
                    <a:pt x="51" y="1026"/>
                  </a:lnTo>
                  <a:lnTo>
                    <a:pt x="56" y="1026"/>
                  </a:lnTo>
                  <a:lnTo>
                    <a:pt x="56" y="1021"/>
                  </a:lnTo>
                  <a:lnTo>
                    <a:pt x="62" y="1015"/>
                  </a:lnTo>
                  <a:lnTo>
                    <a:pt x="68" y="1009"/>
                  </a:lnTo>
                  <a:lnTo>
                    <a:pt x="73" y="1009"/>
                  </a:lnTo>
                  <a:lnTo>
                    <a:pt x="79" y="1004"/>
                  </a:lnTo>
                  <a:lnTo>
                    <a:pt x="90" y="1004"/>
                  </a:lnTo>
                  <a:lnTo>
                    <a:pt x="90" y="998"/>
                  </a:lnTo>
                  <a:lnTo>
                    <a:pt x="96" y="998"/>
                  </a:lnTo>
                  <a:lnTo>
                    <a:pt x="107" y="998"/>
                  </a:lnTo>
                  <a:lnTo>
                    <a:pt x="107" y="992"/>
                  </a:lnTo>
                  <a:lnTo>
                    <a:pt x="113" y="992"/>
                  </a:lnTo>
                  <a:lnTo>
                    <a:pt x="119" y="992"/>
                  </a:lnTo>
                  <a:lnTo>
                    <a:pt x="124" y="987"/>
                  </a:lnTo>
                  <a:lnTo>
                    <a:pt x="130" y="987"/>
                  </a:lnTo>
                  <a:lnTo>
                    <a:pt x="136" y="987"/>
                  </a:lnTo>
                  <a:lnTo>
                    <a:pt x="136" y="981"/>
                  </a:lnTo>
                  <a:lnTo>
                    <a:pt x="141" y="981"/>
                  </a:lnTo>
                  <a:lnTo>
                    <a:pt x="147" y="981"/>
                  </a:lnTo>
                  <a:lnTo>
                    <a:pt x="141" y="981"/>
                  </a:lnTo>
                  <a:lnTo>
                    <a:pt x="147" y="981"/>
                  </a:lnTo>
                  <a:lnTo>
                    <a:pt x="153" y="981"/>
                  </a:lnTo>
                  <a:lnTo>
                    <a:pt x="153" y="975"/>
                  </a:lnTo>
                  <a:lnTo>
                    <a:pt x="158" y="975"/>
                  </a:lnTo>
                  <a:lnTo>
                    <a:pt x="164" y="970"/>
                  </a:lnTo>
                  <a:lnTo>
                    <a:pt x="170" y="970"/>
                  </a:lnTo>
                  <a:lnTo>
                    <a:pt x="170" y="964"/>
                  </a:lnTo>
                  <a:lnTo>
                    <a:pt x="170" y="958"/>
                  </a:lnTo>
                  <a:lnTo>
                    <a:pt x="175" y="958"/>
                  </a:lnTo>
                  <a:lnTo>
                    <a:pt x="181" y="958"/>
                  </a:lnTo>
                  <a:lnTo>
                    <a:pt x="187" y="953"/>
                  </a:lnTo>
                  <a:lnTo>
                    <a:pt x="192" y="953"/>
                  </a:lnTo>
                  <a:lnTo>
                    <a:pt x="192" y="947"/>
                  </a:lnTo>
                  <a:lnTo>
                    <a:pt x="192" y="941"/>
                  </a:lnTo>
                  <a:lnTo>
                    <a:pt x="198" y="941"/>
                  </a:lnTo>
                  <a:lnTo>
                    <a:pt x="198" y="930"/>
                  </a:lnTo>
                  <a:lnTo>
                    <a:pt x="198" y="924"/>
                  </a:lnTo>
                  <a:lnTo>
                    <a:pt x="192" y="924"/>
                  </a:lnTo>
                  <a:lnTo>
                    <a:pt x="192" y="913"/>
                  </a:lnTo>
                  <a:lnTo>
                    <a:pt x="187" y="902"/>
                  </a:lnTo>
                  <a:lnTo>
                    <a:pt x="187" y="896"/>
                  </a:lnTo>
                  <a:lnTo>
                    <a:pt x="187" y="885"/>
                  </a:lnTo>
                  <a:lnTo>
                    <a:pt x="192" y="885"/>
                  </a:lnTo>
                  <a:lnTo>
                    <a:pt x="192" y="873"/>
                  </a:lnTo>
                  <a:lnTo>
                    <a:pt x="198" y="873"/>
                  </a:lnTo>
                  <a:lnTo>
                    <a:pt x="198" y="868"/>
                  </a:lnTo>
                  <a:lnTo>
                    <a:pt x="209" y="862"/>
                  </a:lnTo>
                  <a:lnTo>
                    <a:pt x="215" y="862"/>
                  </a:lnTo>
                  <a:lnTo>
                    <a:pt x="215" y="856"/>
                  </a:lnTo>
                  <a:lnTo>
                    <a:pt x="221" y="856"/>
                  </a:lnTo>
                  <a:lnTo>
                    <a:pt x="221" y="851"/>
                  </a:lnTo>
                  <a:lnTo>
                    <a:pt x="221" y="845"/>
                  </a:lnTo>
                  <a:lnTo>
                    <a:pt x="221" y="839"/>
                  </a:lnTo>
                  <a:lnTo>
                    <a:pt x="226" y="834"/>
                  </a:lnTo>
                  <a:lnTo>
                    <a:pt x="226" y="828"/>
                  </a:lnTo>
                  <a:lnTo>
                    <a:pt x="226" y="822"/>
                  </a:lnTo>
                  <a:lnTo>
                    <a:pt x="232" y="817"/>
                  </a:lnTo>
                  <a:lnTo>
                    <a:pt x="238" y="811"/>
                  </a:lnTo>
                  <a:lnTo>
                    <a:pt x="238" y="805"/>
                  </a:lnTo>
                  <a:lnTo>
                    <a:pt x="243" y="805"/>
                  </a:lnTo>
                  <a:lnTo>
                    <a:pt x="249" y="805"/>
                  </a:lnTo>
                  <a:lnTo>
                    <a:pt x="255" y="800"/>
                  </a:lnTo>
                  <a:lnTo>
                    <a:pt x="260" y="794"/>
                  </a:lnTo>
                  <a:lnTo>
                    <a:pt x="266" y="788"/>
                  </a:lnTo>
                  <a:lnTo>
                    <a:pt x="266" y="783"/>
                  </a:lnTo>
                  <a:lnTo>
                    <a:pt x="260" y="777"/>
                  </a:lnTo>
                  <a:lnTo>
                    <a:pt x="255" y="771"/>
                  </a:lnTo>
                  <a:lnTo>
                    <a:pt x="255" y="766"/>
                  </a:lnTo>
                  <a:lnTo>
                    <a:pt x="255" y="760"/>
                  </a:lnTo>
                  <a:lnTo>
                    <a:pt x="243" y="749"/>
                  </a:lnTo>
                  <a:lnTo>
                    <a:pt x="238" y="743"/>
                  </a:lnTo>
                  <a:lnTo>
                    <a:pt x="238" y="737"/>
                  </a:lnTo>
                  <a:lnTo>
                    <a:pt x="232" y="737"/>
                  </a:lnTo>
                  <a:lnTo>
                    <a:pt x="226" y="737"/>
                  </a:lnTo>
                  <a:lnTo>
                    <a:pt x="221" y="737"/>
                  </a:lnTo>
                  <a:lnTo>
                    <a:pt x="221" y="732"/>
                  </a:lnTo>
                  <a:lnTo>
                    <a:pt x="215" y="732"/>
                  </a:lnTo>
                  <a:lnTo>
                    <a:pt x="215" y="726"/>
                  </a:lnTo>
                  <a:lnTo>
                    <a:pt x="215" y="720"/>
                  </a:lnTo>
                  <a:lnTo>
                    <a:pt x="215" y="709"/>
                  </a:lnTo>
                  <a:lnTo>
                    <a:pt x="215" y="703"/>
                  </a:lnTo>
                  <a:lnTo>
                    <a:pt x="221" y="703"/>
                  </a:lnTo>
                  <a:lnTo>
                    <a:pt x="226" y="698"/>
                  </a:lnTo>
                  <a:lnTo>
                    <a:pt x="226" y="692"/>
                  </a:lnTo>
                  <a:lnTo>
                    <a:pt x="232" y="692"/>
                  </a:lnTo>
                  <a:lnTo>
                    <a:pt x="232" y="686"/>
                  </a:lnTo>
                  <a:lnTo>
                    <a:pt x="238" y="681"/>
                  </a:lnTo>
                  <a:lnTo>
                    <a:pt x="238" y="675"/>
                  </a:lnTo>
                  <a:lnTo>
                    <a:pt x="238" y="664"/>
                  </a:lnTo>
                  <a:lnTo>
                    <a:pt x="238" y="652"/>
                  </a:lnTo>
                  <a:lnTo>
                    <a:pt x="238" y="641"/>
                  </a:lnTo>
                  <a:lnTo>
                    <a:pt x="238" y="630"/>
                  </a:lnTo>
                  <a:lnTo>
                    <a:pt x="238" y="618"/>
                  </a:lnTo>
                  <a:lnTo>
                    <a:pt x="238" y="607"/>
                  </a:lnTo>
                  <a:lnTo>
                    <a:pt x="238" y="590"/>
                  </a:lnTo>
                  <a:lnTo>
                    <a:pt x="243" y="579"/>
                  </a:lnTo>
                  <a:lnTo>
                    <a:pt x="243" y="573"/>
                  </a:lnTo>
                  <a:lnTo>
                    <a:pt x="249" y="567"/>
                  </a:lnTo>
                  <a:lnTo>
                    <a:pt x="249" y="556"/>
                  </a:lnTo>
                  <a:lnTo>
                    <a:pt x="255" y="533"/>
                  </a:lnTo>
                  <a:lnTo>
                    <a:pt x="255" y="522"/>
                  </a:lnTo>
                  <a:lnTo>
                    <a:pt x="255" y="511"/>
                  </a:lnTo>
                  <a:lnTo>
                    <a:pt x="255" y="505"/>
                  </a:lnTo>
                  <a:lnTo>
                    <a:pt x="249" y="494"/>
                  </a:lnTo>
                  <a:lnTo>
                    <a:pt x="243" y="488"/>
                  </a:lnTo>
                  <a:lnTo>
                    <a:pt x="243" y="482"/>
                  </a:lnTo>
                  <a:lnTo>
                    <a:pt x="243" y="477"/>
                  </a:lnTo>
                  <a:lnTo>
                    <a:pt x="243" y="471"/>
                  </a:lnTo>
                  <a:lnTo>
                    <a:pt x="238" y="471"/>
                  </a:lnTo>
                  <a:lnTo>
                    <a:pt x="238" y="465"/>
                  </a:lnTo>
                  <a:lnTo>
                    <a:pt x="238" y="460"/>
                  </a:lnTo>
                  <a:lnTo>
                    <a:pt x="243" y="460"/>
                  </a:lnTo>
                  <a:lnTo>
                    <a:pt x="243" y="454"/>
                  </a:lnTo>
                  <a:lnTo>
                    <a:pt x="249" y="454"/>
                  </a:lnTo>
                  <a:lnTo>
                    <a:pt x="255" y="448"/>
                  </a:lnTo>
                  <a:lnTo>
                    <a:pt x="260" y="443"/>
                  </a:lnTo>
                  <a:lnTo>
                    <a:pt x="266" y="443"/>
                  </a:lnTo>
                  <a:lnTo>
                    <a:pt x="272" y="443"/>
                  </a:lnTo>
                  <a:lnTo>
                    <a:pt x="272" y="437"/>
                  </a:lnTo>
                  <a:lnTo>
                    <a:pt x="277" y="437"/>
                  </a:lnTo>
                  <a:lnTo>
                    <a:pt x="283" y="431"/>
                  </a:lnTo>
                  <a:lnTo>
                    <a:pt x="283" y="426"/>
                  </a:lnTo>
                  <a:lnTo>
                    <a:pt x="289" y="426"/>
                  </a:lnTo>
                  <a:lnTo>
                    <a:pt x="289" y="420"/>
                  </a:lnTo>
                  <a:lnTo>
                    <a:pt x="289" y="414"/>
                  </a:lnTo>
                  <a:lnTo>
                    <a:pt x="294" y="414"/>
                  </a:lnTo>
                  <a:lnTo>
                    <a:pt x="294" y="403"/>
                  </a:lnTo>
                  <a:lnTo>
                    <a:pt x="300" y="403"/>
                  </a:lnTo>
                  <a:lnTo>
                    <a:pt x="300" y="397"/>
                  </a:lnTo>
                  <a:lnTo>
                    <a:pt x="306" y="392"/>
                  </a:lnTo>
                  <a:lnTo>
                    <a:pt x="311" y="386"/>
                  </a:lnTo>
                  <a:lnTo>
                    <a:pt x="317" y="380"/>
                  </a:lnTo>
                  <a:lnTo>
                    <a:pt x="317" y="375"/>
                  </a:lnTo>
                  <a:lnTo>
                    <a:pt x="317" y="369"/>
                  </a:lnTo>
                  <a:lnTo>
                    <a:pt x="317" y="363"/>
                  </a:lnTo>
                  <a:lnTo>
                    <a:pt x="311" y="358"/>
                  </a:lnTo>
                  <a:lnTo>
                    <a:pt x="306" y="358"/>
                  </a:lnTo>
                  <a:lnTo>
                    <a:pt x="306" y="352"/>
                  </a:lnTo>
                  <a:lnTo>
                    <a:pt x="306" y="346"/>
                  </a:lnTo>
                  <a:lnTo>
                    <a:pt x="300" y="346"/>
                  </a:lnTo>
                  <a:lnTo>
                    <a:pt x="300" y="341"/>
                  </a:lnTo>
                  <a:lnTo>
                    <a:pt x="294" y="341"/>
                  </a:lnTo>
                  <a:lnTo>
                    <a:pt x="294" y="335"/>
                  </a:lnTo>
                  <a:lnTo>
                    <a:pt x="289" y="335"/>
                  </a:lnTo>
                  <a:lnTo>
                    <a:pt x="289" y="329"/>
                  </a:lnTo>
                  <a:lnTo>
                    <a:pt x="289" y="324"/>
                  </a:lnTo>
                  <a:lnTo>
                    <a:pt x="283" y="324"/>
                  </a:lnTo>
                  <a:lnTo>
                    <a:pt x="277" y="318"/>
                  </a:lnTo>
                  <a:lnTo>
                    <a:pt x="277" y="312"/>
                  </a:lnTo>
                  <a:lnTo>
                    <a:pt x="272" y="307"/>
                  </a:lnTo>
                  <a:lnTo>
                    <a:pt x="272" y="301"/>
                  </a:lnTo>
                  <a:lnTo>
                    <a:pt x="272" y="295"/>
                  </a:lnTo>
                  <a:lnTo>
                    <a:pt x="272" y="290"/>
                  </a:lnTo>
                  <a:lnTo>
                    <a:pt x="277" y="290"/>
                  </a:lnTo>
                  <a:lnTo>
                    <a:pt x="277" y="284"/>
                  </a:lnTo>
                  <a:lnTo>
                    <a:pt x="283" y="273"/>
                  </a:lnTo>
                  <a:lnTo>
                    <a:pt x="289" y="267"/>
                  </a:lnTo>
                  <a:lnTo>
                    <a:pt x="289" y="255"/>
                  </a:lnTo>
                  <a:lnTo>
                    <a:pt x="289" y="250"/>
                  </a:lnTo>
                  <a:lnTo>
                    <a:pt x="289" y="233"/>
                  </a:lnTo>
                  <a:lnTo>
                    <a:pt x="289" y="227"/>
                  </a:lnTo>
                  <a:lnTo>
                    <a:pt x="294" y="227"/>
                  </a:lnTo>
                  <a:lnTo>
                    <a:pt x="300" y="227"/>
                  </a:lnTo>
                  <a:lnTo>
                    <a:pt x="306" y="227"/>
                  </a:lnTo>
                  <a:lnTo>
                    <a:pt x="311" y="233"/>
                  </a:lnTo>
                  <a:lnTo>
                    <a:pt x="317" y="233"/>
                  </a:lnTo>
                  <a:lnTo>
                    <a:pt x="323" y="233"/>
                  </a:lnTo>
                  <a:lnTo>
                    <a:pt x="329" y="233"/>
                  </a:lnTo>
                  <a:lnTo>
                    <a:pt x="323" y="227"/>
                  </a:lnTo>
                  <a:lnTo>
                    <a:pt x="329" y="227"/>
                  </a:lnTo>
                  <a:lnTo>
                    <a:pt x="334" y="227"/>
                  </a:lnTo>
                  <a:lnTo>
                    <a:pt x="329" y="227"/>
                  </a:lnTo>
                  <a:lnTo>
                    <a:pt x="329" y="221"/>
                  </a:lnTo>
                  <a:lnTo>
                    <a:pt x="334" y="221"/>
                  </a:lnTo>
                  <a:lnTo>
                    <a:pt x="329" y="221"/>
                  </a:lnTo>
                  <a:lnTo>
                    <a:pt x="334" y="216"/>
                  </a:lnTo>
                  <a:lnTo>
                    <a:pt x="329" y="216"/>
                  </a:lnTo>
                  <a:lnTo>
                    <a:pt x="329" y="210"/>
                  </a:lnTo>
                  <a:lnTo>
                    <a:pt x="334" y="204"/>
                  </a:lnTo>
                  <a:lnTo>
                    <a:pt x="340" y="204"/>
                  </a:lnTo>
                  <a:lnTo>
                    <a:pt x="346" y="204"/>
                  </a:lnTo>
                  <a:lnTo>
                    <a:pt x="351" y="204"/>
                  </a:lnTo>
                  <a:lnTo>
                    <a:pt x="351" y="199"/>
                  </a:lnTo>
                  <a:lnTo>
                    <a:pt x="351" y="193"/>
                  </a:lnTo>
                  <a:lnTo>
                    <a:pt x="357" y="187"/>
                  </a:lnTo>
                  <a:lnTo>
                    <a:pt x="351" y="187"/>
                  </a:lnTo>
                  <a:lnTo>
                    <a:pt x="346" y="187"/>
                  </a:lnTo>
                  <a:lnTo>
                    <a:pt x="346" y="182"/>
                  </a:lnTo>
                  <a:lnTo>
                    <a:pt x="351" y="182"/>
                  </a:lnTo>
                  <a:lnTo>
                    <a:pt x="351" y="176"/>
                  </a:lnTo>
                  <a:lnTo>
                    <a:pt x="357" y="176"/>
                  </a:lnTo>
                  <a:lnTo>
                    <a:pt x="357" y="170"/>
                  </a:lnTo>
                  <a:lnTo>
                    <a:pt x="357" y="165"/>
                  </a:lnTo>
                  <a:lnTo>
                    <a:pt x="363" y="165"/>
                  </a:lnTo>
                  <a:lnTo>
                    <a:pt x="363" y="159"/>
                  </a:lnTo>
                  <a:lnTo>
                    <a:pt x="363" y="165"/>
                  </a:lnTo>
                  <a:lnTo>
                    <a:pt x="363" y="159"/>
                  </a:lnTo>
                  <a:lnTo>
                    <a:pt x="368" y="159"/>
                  </a:lnTo>
                  <a:lnTo>
                    <a:pt x="374" y="159"/>
                  </a:lnTo>
                  <a:lnTo>
                    <a:pt x="380" y="159"/>
                  </a:lnTo>
                  <a:lnTo>
                    <a:pt x="380" y="148"/>
                  </a:lnTo>
                  <a:lnTo>
                    <a:pt x="385" y="148"/>
                  </a:lnTo>
                  <a:lnTo>
                    <a:pt x="385" y="153"/>
                  </a:lnTo>
                  <a:lnTo>
                    <a:pt x="391" y="153"/>
                  </a:lnTo>
                  <a:lnTo>
                    <a:pt x="391" y="159"/>
                  </a:lnTo>
                  <a:lnTo>
                    <a:pt x="397" y="159"/>
                  </a:lnTo>
                  <a:lnTo>
                    <a:pt x="402" y="153"/>
                  </a:lnTo>
                  <a:lnTo>
                    <a:pt x="402" y="148"/>
                  </a:lnTo>
                  <a:lnTo>
                    <a:pt x="402" y="142"/>
                  </a:lnTo>
                  <a:lnTo>
                    <a:pt x="402" y="148"/>
                  </a:lnTo>
                  <a:lnTo>
                    <a:pt x="402" y="142"/>
                  </a:lnTo>
                  <a:lnTo>
                    <a:pt x="408" y="148"/>
                  </a:lnTo>
                  <a:lnTo>
                    <a:pt x="414" y="148"/>
                  </a:lnTo>
                  <a:lnTo>
                    <a:pt x="408" y="142"/>
                  </a:lnTo>
                  <a:lnTo>
                    <a:pt x="414" y="142"/>
                  </a:lnTo>
                  <a:lnTo>
                    <a:pt x="419" y="142"/>
                  </a:lnTo>
                  <a:lnTo>
                    <a:pt x="419" y="136"/>
                  </a:lnTo>
                  <a:lnTo>
                    <a:pt x="425" y="131"/>
                  </a:lnTo>
                  <a:lnTo>
                    <a:pt x="431" y="131"/>
                  </a:lnTo>
                  <a:lnTo>
                    <a:pt x="436" y="125"/>
                  </a:lnTo>
                  <a:lnTo>
                    <a:pt x="436" y="119"/>
                  </a:lnTo>
                  <a:lnTo>
                    <a:pt x="442" y="119"/>
                  </a:lnTo>
                  <a:lnTo>
                    <a:pt x="448" y="114"/>
                  </a:lnTo>
                  <a:lnTo>
                    <a:pt x="453" y="114"/>
                  </a:lnTo>
                  <a:lnTo>
                    <a:pt x="448" y="108"/>
                  </a:lnTo>
                  <a:lnTo>
                    <a:pt x="442" y="108"/>
                  </a:lnTo>
                  <a:lnTo>
                    <a:pt x="442" y="102"/>
                  </a:lnTo>
                  <a:lnTo>
                    <a:pt x="448" y="102"/>
                  </a:lnTo>
                  <a:lnTo>
                    <a:pt x="453" y="102"/>
                  </a:lnTo>
                  <a:lnTo>
                    <a:pt x="453" y="97"/>
                  </a:lnTo>
                  <a:lnTo>
                    <a:pt x="453" y="102"/>
                  </a:lnTo>
                  <a:lnTo>
                    <a:pt x="459" y="102"/>
                  </a:lnTo>
                  <a:lnTo>
                    <a:pt x="459" y="97"/>
                  </a:lnTo>
                  <a:lnTo>
                    <a:pt x="459" y="91"/>
                  </a:lnTo>
                  <a:lnTo>
                    <a:pt x="453" y="91"/>
                  </a:lnTo>
                  <a:lnTo>
                    <a:pt x="459" y="85"/>
                  </a:lnTo>
                  <a:lnTo>
                    <a:pt x="465" y="85"/>
                  </a:lnTo>
                  <a:lnTo>
                    <a:pt x="465" y="91"/>
                  </a:lnTo>
                  <a:lnTo>
                    <a:pt x="465" y="85"/>
                  </a:lnTo>
                  <a:lnTo>
                    <a:pt x="465" y="80"/>
                  </a:lnTo>
                  <a:lnTo>
                    <a:pt x="470" y="80"/>
                  </a:lnTo>
                  <a:lnTo>
                    <a:pt x="470" y="85"/>
                  </a:lnTo>
                  <a:lnTo>
                    <a:pt x="476" y="85"/>
                  </a:lnTo>
                  <a:lnTo>
                    <a:pt x="482" y="85"/>
                  </a:lnTo>
                  <a:lnTo>
                    <a:pt x="487" y="80"/>
                  </a:lnTo>
                  <a:lnTo>
                    <a:pt x="493" y="80"/>
                  </a:lnTo>
                  <a:lnTo>
                    <a:pt x="493" y="74"/>
                  </a:lnTo>
                  <a:lnTo>
                    <a:pt x="493" y="80"/>
                  </a:lnTo>
                  <a:lnTo>
                    <a:pt x="499" y="74"/>
                  </a:lnTo>
                  <a:lnTo>
                    <a:pt x="504" y="74"/>
                  </a:lnTo>
                  <a:lnTo>
                    <a:pt x="510" y="74"/>
                  </a:lnTo>
                  <a:lnTo>
                    <a:pt x="516" y="74"/>
                  </a:lnTo>
                  <a:lnTo>
                    <a:pt x="521" y="68"/>
                  </a:lnTo>
                  <a:lnTo>
                    <a:pt x="527" y="68"/>
                  </a:lnTo>
                  <a:lnTo>
                    <a:pt x="527" y="63"/>
                  </a:lnTo>
                  <a:lnTo>
                    <a:pt x="533" y="63"/>
                  </a:lnTo>
                  <a:lnTo>
                    <a:pt x="538" y="63"/>
                  </a:lnTo>
                  <a:lnTo>
                    <a:pt x="538" y="68"/>
                  </a:lnTo>
                  <a:lnTo>
                    <a:pt x="533" y="68"/>
                  </a:lnTo>
                  <a:lnTo>
                    <a:pt x="538" y="68"/>
                  </a:lnTo>
                  <a:lnTo>
                    <a:pt x="544" y="74"/>
                  </a:lnTo>
                  <a:lnTo>
                    <a:pt x="544" y="68"/>
                  </a:lnTo>
                  <a:lnTo>
                    <a:pt x="544" y="63"/>
                  </a:lnTo>
                  <a:lnTo>
                    <a:pt x="555" y="68"/>
                  </a:lnTo>
                  <a:lnTo>
                    <a:pt x="555" y="74"/>
                  </a:lnTo>
                  <a:lnTo>
                    <a:pt x="555" y="68"/>
                  </a:lnTo>
                  <a:lnTo>
                    <a:pt x="555" y="63"/>
                  </a:lnTo>
                  <a:lnTo>
                    <a:pt x="561" y="63"/>
                  </a:lnTo>
                  <a:lnTo>
                    <a:pt x="561" y="68"/>
                  </a:lnTo>
                  <a:lnTo>
                    <a:pt x="561" y="74"/>
                  </a:lnTo>
                  <a:lnTo>
                    <a:pt x="567" y="74"/>
                  </a:lnTo>
                  <a:lnTo>
                    <a:pt x="567" y="68"/>
                  </a:lnTo>
                  <a:lnTo>
                    <a:pt x="572" y="68"/>
                  </a:lnTo>
                  <a:lnTo>
                    <a:pt x="578" y="68"/>
                  </a:lnTo>
                  <a:lnTo>
                    <a:pt x="578" y="74"/>
                  </a:lnTo>
                  <a:lnTo>
                    <a:pt x="578" y="68"/>
                  </a:lnTo>
                  <a:lnTo>
                    <a:pt x="584" y="68"/>
                  </a:lnTo>
                  <a:lnTo>
                    <a:pt x="584" y="63"/>
                  </a:lnTo>
                  <a:lnTo>
                    <a:pt x="584" y="57"/>
                  </a:lnTo>
                  <a:lnTo>
                    <a:pt x="589" y="63"/>
                  </a:lnTo>
                  <a:lnTo>
                    <a:pt x="589" y="57"/>
                  </a:lnTo>
                  <a:lnTo>
                    <a:pt x="595" y="57"/>
                  </a:lnTo>
                  <a:lnTo>
                    <a:pt x="595" y="51"/>
                  </a:lnTo>
                  <a:lnTo>
                    <a:pt x="589" y="51"/>
                  </a:lnTo>
                  <a:lnTo>
                    <a:pt x="595" y="46"/>
                  </a:lnTo>
                  <a:lnTo>
                    <a:pt x="601" y="51"/>
                  </a:lnTo>
                  <a:lnTo>
                    <a:pt x="601" y="46"/>
                  </a:lnTo>
                  <a:lnTo>
                    <a:pt x="601" y="40"/>
                  </a:lnTo>
                  <a:lnTo>
                    <a:pt x="595" y="40"/>
                  </a:lnTo>
                  <a:lnTo>
                    <a:pt x="595" y="34"/>
                  </a:lnTo>
                  <a:lnTo>
                    <a:pt x="601" y="34"/>
                  </a:lnTo>
                  <a:lnTo>
                    <a:pt x="601" y="29"/>
                  </a:lnTo>
                  <a:lnTo>
                    <a:pt x="606" y="29"/>
                  </a:lnTo>
                  <a:lnTo>
                    <a:pt x="606" y="23"/>
                  </a:lnTo>
                  <a:lnTo>
                    <a:pt x="612" y="23"/>
                  </a:lnTo>
                  <a:lnTo>
                    <a:pt x="618" y="17"/>
                  </a:lnTo>
                  <a:lnTo>
                    <a:pt x="612" y="17"/>
                  </a:lnTo>
                  <a:lnTo>
                    <a:pt x="618" y="17"/>
                  </a:lnTo>
                  <a:lnTo>
                    <a:pt x="618" y="12"/>
                  </a:lnTo>
                  <a:lnTo>
                    <a:pt x="623" y="12"/>
                  </a:lnTo>
                  <a:lnTo>
                    <a:pt x="629" y="12"/>
                  </a:lnTo>
                  <a:lnTo>
                    <a:pt x="629" y="6"/>
                  </a:lnTo>
                  <a:lnTo>
                    <a:pt x="635" y="6"/>
                  </a:lnTo>
                  <a:lnTo>
                    <a:pt x="635" y="0"/>
                  </a:lnTo>
                  <a:lnTo>
                    <a:pt x="640" y="0"/>
                  </a:lnTo>
                  <a:lnTo>
                    <a:pt x="640" y="6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2" y="6"/>
                  </a:lnTo>
                  <a:lnTo>
                    <a:pt x="657" y="6"/>
                  </a:lnTo>
                  <a:lnTo>
                    <a:pt x="663" y="6"/>
                  </a:lnTo>
                  <a:lnTo>
                    <a:pt x="669" y="0"/>
                  </a:lnTo>
                  <a:lnTo>
                    <a:pt x="674" y="6"/>
                  </a:lnTo>
                  <a:lnTo>
                    <a:pt x="674" y="0"/>
                  </a:lnTo>
                  <a:lnTo>
                    <a:pt x="703" y="6"/>
                  </a:lnTo>
                  <a:lnTo>
                    <a:pt x="703" y="0"/>
                  </a:lnTo>
                  <a:lnTo>
                    <a:pt x="708" y="6"/>
                  </a:lnTo>
                  <a:lnTo>
                    <a:pt x="714" y="6"/>
                  </a:lnTo>
                  <a:lnTo>
                    <a:pt x="720" y="0"/>
                  </a:lnTo>
                  <a:lnTo>
                    <a:pt x="725" y="6"/>
                  </a:lnTo>
                  <a:lnTo>
                    <a:pt x="725" y="0"/>
                  </a:lnTo>
                  <a:lnTo>
                    <a:pt x="731" y="0"/>
                  </a:lnTo>
                  <a:lnTo>
                    <a:pt x="737" y="6"/>
                  </a:lnTo>
                  <a:lnTo>
                    <a:pt x="742" y="17"/>
                  </a:lnTo>
                  <a:lnTo>
                    <a:pt x="742" y="23"/>
                  </a:lnTo>
                  <a:lnTo>
                    <a:pt x="748" y="23"/>
                  </a:lnTo>
                  <a:lnTo>
                    <a:pt x="748" y="29"/>
                  </a:lnTo>
                  <a:lnTo>
                    <a:pt x="754" y="34"/>
                  </a:lnTo>
                  <a:lnTo>
                    <a:pt x="759" y="40"/>
                  </a:lnTo>
                  <a:lnTo>
                    <a:pt x="765" y="46"/>
                  </a:lnTo>
                  <a:lnTo>
                    <a:pt x="776" y="63"/>
                  </a:lnTo>
                  <a:lnTo>
                    <a:pt x="776" y="68"/>
                  </a:lnTo>
                  <a:lnTo>
                    <a:pt x="782" y="74"/>
                  </a:lnTo>
                  <a:lnTo>
                    <a:pt x="788" y="74"/>
                  </a:lnTo>
                  <a:lnTo>
                    <a:pt x="788" y="80"/>
                  </a:lnTo>
                  <a:lnTo>
                    <a:pt x="788" y="85"/>
                  </a:lnTo>
                  <a:lnTo>
                    <a:pt x="793" y="85"/>
                  </a:lnTo>
                  <a:lnTo>
                    <a:pt x="793" y="91"/>
                  </a:lnTo>
                  <a:lnTo>
                    <a:pt x="805" y="108"/>
                  </a:lnTo>
                  <a:lnTo>
                    <a:pt x="810" y="114"/>
                  </a:lnTo>
                  <a:lnTo>
                    <a:pt x="816" y="119"/>
                  </a:lnTo>
                  <a:lnTo>
                    <a:pt x="816" y="125"/>
                  </a:lnTo>
                  <a:lnTo>
                    <a:pt x="822" y="131"/>
                  </a:lnTo>
                  <a:lnTo>
                    <a:pt x="839" y="153"/>
                  </a:lnTo>
                  <a:lnTo>
                    <a:pt x="850" y="170"/>
                  </a:lnTo>
                  <a:lnTo>
                    <a:pt x="856" y="176"/>
                  </a:lnTo>
                  <a:lnTo>
                    <a:pt x="867" y="187"/>
                  </a:lnTo>
                  <a:lnTo>
                    <a:pt x="867" y="193"/>
                  </a:lnTo>
                  <a:lnTo>
                    <a:pt x="873" y="199"/>
                  </a:lnTo>
                  <a:lnTo>
                    <a:pt x="873" y="204"/>
                  </a:lnTo>
                  <a:lnTo>
                    <a:pt x="878" y="210"/>
                  </a:lnTo>
                  <a:lnTo>
                    <a:pt x="884" y="210"/>
                  </a:lnTo>
                  <a:lnTo>
                    <a:pt x="890" y="221"/>
                  </a:lnTo>
                  <a:lnTo>
                    <a:pt x="895" y="227"/>
                  </a:lnTo>
                  <a:lnTo>
                    <a:pt x="895" y="244"/>
                  </a:lnTo>
                  <a:lnTo>
                    <a:pt x="901" y="250"/>
                  </a:lnTo>
                  <a:lnTo>
                    <a:pt x="901" y="255"/>
                  </a:lnTo>
                  <a:lnTo>
                    <a:pt x="901" y="261"/>
                  </a:lnTo>
                  <a:lnTo>
                    <a:pt x="901" y="267"/>
                  </a:lnTo>
                  <a:lnTo>
                    <a:pt x="901" y="273"/>
                  </a:lnTo>
                  <a:lnTo>
                    <a:pt x="907" y="290"/>
                  </a:lnTo>
                  <a:lnTo>
                    <a:pt x="907" y="295"/>
                  </a:lnTo>
                  <a:lnTo>
                    <a:pt x="907" y="301"/>
                  </a:lnTo>
                  <a:lnTo>
                    <a:pt x="912" y="312"/>
                  </a:lnTo>
                  <a:lnTo>
                    <a:pt x="912" y="318"/>
                  </a:lnTo>
                  <a:lnTo>
                    <a:pt x="912" y="324"/>
                  </a:lnTo>
                  <a:lnTo>
                    <a:pt x="918" y="346"/>
                  </a:lnTo>
                  <a:lnTo>
                    <a:pt x="918" y="358"/>
                  </a:lnTo>
                  <a:lnTo>
                    <a:pt x="918" y="363"/>
                  </a:lnTo>
                  <a:lnTo>
                    <a:pt x="918" y="369"/>
                  </a:lnTo>
                  <a:lnTo>
                    <a:pt x="924" y="392"/>
                  </a:lnTo>
                  <a:lnTo>
                    <a:pt x="924" y="397"/>
                  </a:lnTo>
                  <a:lnTo>
                    <a:pt x="929" y="409"/>
                  </a:lnTo>
                  <a:lnTo>
                    <a:pt x="929" y="414"/>
                  </a:lnTo>
                  <a:lnTo>
                    <a:pt x="929" y="426"/>
                  </a:lnTo>
                  <a:lnTo>
                    <a:pt x="935" y="426"/>
                  </a:lnTo>
                  <a:lnTo>
                    <a:pt x="935" y="431"/>
                  </a:lnTo>
                  <a:lnTo>
                    <a:pt x="935" y="437"/>
                  </a:lnTo>
                  <a:lnTo>
                    <a:pt x="929" y="443"/>
                  </a:lnTo>
                  <a:lnTo>
                    <a:pt x="929" y="448"/>
                  </a:lnTo>
                  <a:lnTo>
                    <a:pt x="929" y="454"/>
                  </a:lnTo>
                  <a:lnTo>
                    <a:pt x="935" y="454"/>
                  </a:lnTo>
                  <a:lnTo>
                    <a:pt x="935" y="460"/>
                  </a:lnTo>
                  <a:lnTo>
                    <a:pt x="929" y="460"/>
                  </a:lnTo>
                  <a:lnTo>
                    <a:pt x="929" y="465"/>
                  </a:lnTo>
                  <a:lnTo>
                    <a:pt x="924" y="465"/>
                  </a:lnTo>
                  <a:lnTo>
                    <a:pt x="929" y="471"/>
                  </a:lnTo>
                  <a:lnTo>
                    <a:pt x="935" y="477"/>
                  </a:lnTo>
                  <a:lnTo>
                    <a:pt x="941" y="477"/>
                  </a:lnTo>
                  <a:lnTo>
                    <a:pt x="941" y="482"/>
                  </a:lnTo>
                  <a:lnTo>
                    <a:pt x="946" y="482"/>
                  </a:lnTo>
                  <a:lnTo>
                    <a:pt x="952" y="482"/>
                  </a:lnTo>
                  <a:lnTo>
                    <a:pt x="958" y="482"/>
                  </a:lnTo>
                  <a:lnTo>
                    <a:pt x="963" y="482"/>
                  </a:lnTo>
                  <a:lnTo>
                    <a:pt x="969" y="488"/>
                  </a:lnTo>
                  <a:lnTo>
                    <a:pt x="969" y="482"/>
                  </a:lnTo>
                  <a:lnTo>
                    <a:pt x="975" y="482"/>
                  </a:lnTo>
                  <a:lnTo>
                    <a:pt x="975" y="488"/>
                  </a:lnTo>
                  <a:lnTo>
                    <a:pt x="975" y="482"/>
                  </a:lnTo>
                  <a:lnTo>
                    <a:pt x="980" y="482"/>
                  </a:lnTo>
                  <a:lnTo>
                    <a:pt x="986" y="482"/>
                  </a:lnTo>
                  <a:lnTo>
                    <a:pt x="992" y="482"/>
                  </a:lnTo>
                  <a:lnTo>
                    <a:pt x="997" y="482"/>
                  </a:lnTo>
                  <a:lnTo>
                    <a:pt x="997" y="488"/>
                  </a:lnTo>
                  <a:lnTo>
                    <a:pt x="1003" y="488"/>
                  </a:lnTo>
                  <a:lnTo>
                    <a:pt x="1009" y="482"/>
                  </a:lnTo>
                  <a:lnTo>
                    <a:pt x="1014" y="482"/>
                  </a:lnTo>
                  <a:lnTo>
                    <a:pt x="1020" y="482"/>
                  </a:lnTo>
                  <a:lnTo>
                    <a:pt x="1026" y="488"/>
                  </a:lnTo>
                  <a:lnTo>
                    <a:pt x="1031" y="488"/>
                  </a:lnTo>
                  <a:lnTo>
                    <a:pt x="1037" y="488"/>
                  </a:lnTo>
                  <a:lnTo>
                    <a:pt x="1037" y="494"/>
                  </a:lnTo>
                  <a:lnTo>
                    <a:pt x="1043" y="494"/>
                  </a:lnTo>
                  <a:lnTo>
                    <a:pt x="1048" y="499"/>
                  </a:lnTo>
                  <a:lnTo>
                    <a:pt x="1054" y="499"/>
                  </a:lnTo>
                  <a:lnTo>
                    <a:pt x="1048" y="499"/>
                  </a:lnTo>
                  <a:lnTo>
                    <a:pt x="1048" y="505"/>
                  </a:lnTo>
                  <a:lnTo>
                    <a:pt x="1048" y="511"/>
                  </a:lnTo>
                  <a:lnTo>
                    <a:pt x="1048" y="505"/>
                  </a:lnTo>
                  <a:lnTo>
                    <a:pt x="1054" y="511"/>
                  </a:lnTo>
                  <a:lnTo>
                    <a:pt x="1060" y="511"/>
                  </a:lnTo>
                  <a:lnTo>
                    <a:pt x="1060" y="516"/>
                  </a:lnTo>
                  <a:lnTo>
                    <a:pt x="1060" y="522"/>
                  </a:lnTo>
                  <a:lnTo>
                    <a:pt x="1065" y="522"/>
                  </a:lnTo>
                  <a:lnTo>
                    <a:pt x="1065" y="528"/>
                  </a:lnTo>
                  <a:lnTo>
                    <a:pt x="1060" y="528"/>
                  </a:lnTo>
                  <a:lnTo>
                    <a:pt x="1065" y="528"/>
                  </a:lnTo>
                  <a:lnTo>
                    <a:pt x="1065" y="533"/>
                  </a:lnTo>
                  <a:lnTo>
                    <a:pt x="1071" y="533"/>
                  </a:lnTo>
                  <a:lnTo>
                    <a:pt x="1077" y="533"/>
                  </a:lnTo>
                  <a:lnTo>
                    <a:pt x="1077" y="539"/>
                  </a:lnTo>
                  <a:lnTo>
                    <a:pt x="1082" y="545"/>
                  </a:lnTo>
                  <a:lnTo>
                    <a:pt x="1077" y="545"/>
                  </a:lnTo>
                  <a:lnTo>
                    <a:pt x="1082" y="545"/>
                  </a:lnTo>
                  <a:lnTo>
                    <a:pt x="1088" y="550"/>
                  </a:lnTo>
                  <a:lnTo>
                    <a:pt x="1088" y="545"/>
                  </a:lnTo>
                  <a:lnTo>
                    <a:pt x="1094" y="545"/>
                  </a:lnTo>
                  <a:lnTo>
                    <a:pt x="1099" y="545"/>
                  </a:lnTo>
                  <a:lnTo>
                    <a:pt x="1099" y="550"/>
                  </a:lnTo>
                  <a:lnTo>
                    <a:pt x="1105" y="550"/>
                  </a:lnTo>
                  <a:lnTo>
                    <a:pt x="1105" y="556"/>
                  </a:lnTo>
                  <a:lnTo>
                    <a:pt x="1099" y="562"/>
                  </a:lnTo>
                  <a:lnTo>
                    <a:pt x="1099" y="567"/>
                  </a:lnTo>
                  <a:lnTo>
                    <a:pt x="1099" y="573"/>
                  </a:lnTo>
                  <a:lnTo>
                    <a:pt x="1094" y="579"/>
                  </a:lnTo>
                  <a:lnTo>
                    <a:pt x="1094" y="584"/>
                  </a:lnTo>
                  <a:lnTo>
                    <a:pt x="1099" y="590"/>
                  </a:lnTo>
                  <a:lnTo>
                    <a:pt x="1094" y="590"/>
                  </a:lnTo>
                  <a:lnTo>
                    <a:pt x="1088" y="596"/>
                  </a:lnTo>
                  <a:lnTo>
                    <a:pt x="1088" y="601"/>
                  </a:lnTo>
                  <a:lnTo>
                    <a:pt x="1088" y="607"/>
                  </a:lnTo>
                  <a:lnTo>
                    <a:pt x="1088" y="613"/>
                  </a:lnTo>
                  <a:lnTo>
                    <a:pt x="1094" y="613"/>
                  </a:lnTo>
                  <a:lnTo>
                    <a:pt x="1094" y="618"/>
                  </a:lnTo>
                  <a:lnTo>
                    <a:pt x="1094" y="624"/>
                  </a:lnTo>
                  <a:lnTo>
                    <a:pt x="1099" y="624"/>
                  </a:lnTo>
                  <a:lnTo>
                    <a:pt x="1099" y="630"/>
                  </a:lnTo>
                  <a:lnTo>
                    <a:pt x="1094" y="630"/>
                  </a:lnTo>
                  <a:lnTo>
                    <a:pt x="1094" y="635"/>
                  </a:lnTo>
                  <a:lnTo>
                    <a:pt x="1094" y="641"/>
                  </a:lnTo>
                  <a:lnTo>
                    <a:pt x="1094" y="647"/>
                  </a:lnTo>
                  <a:lnTo>
                    <a:pt x="1088" y="647"/>
                  </a:lnTo>
                  <a:lnTo>
                    <a:pt x="1088" y="652"/>
                  </a:lnTo>
                  <a:lnTo>
                    <a:pt x="1088" y="647"/>
                  </a:lnTo>
                  <a:lnTo>
                    <a:pt x="1088" y="652"/>
                  </a:lnTo>
                  <a:lnTo>
                    <a:pt x="1082" y="658"/>
                  </a:lnTo>
                  <a:lnTo>
                    <a:pt x="1082" y="664"/>
                  </a:lnTo>
                  <a:lnTo>
                    <a:pt x="1082" y="669"/>
                  </a:lnTo>
                  <a:lnTo>
                    <a:pt x="1082" y="675"/>
                  </a:lnTo>
                  <a:lnTo>
                    <a:pt x="1082" y="681"/>
                  </a:lnTo>
                  <a:lnTo>
                    <a:pt x="1082" y="686"/>
                  </a:lnTo>
                  <a:lnTo>
                    <a:pt x="1082" y="692"/>
                  </a:lnTo>
                  <a:lnTo>
                    <a:pt x="1077" y="698"/>
                  </a:lnTo>
                  <a:lnTo>
                    <a:pt x="1071" y="698"/>
                  </a:lnTo>
                  <a:lnTo>
                    <a:pt x="1071" y="703"/>
                  </a:lnTo>
                  <a:lnTo>
                    <a:pt x="1065" y="709"/>
                  </a:lnTo>
                  <a:lnTo>
                    <a:pt x="1060" y="709"/>
                  </a:lnTo>
                  <a:lnTo>
                    <a:pt x="1060" y="715"/>
                  </a:lnTo>
                  <a:lnTo>
                    <a:pt x="1065" y="715"/>
                  </a:lnTo>
                  <a:lnTo>
                    <a:pt x="1065" y="720"/>
                  </a:lnTo>
                  <a:lnTo>
                    <a:pt x="1071" y="720"/>
                  </a:lnTo>
                  <a:lnTo>
                    <a:pt x="1077" y="726"/>
                  </a:lnTo>
                  <a:lnTo>
                    <a:pt x="1082" y="726"/>
                  </a:lnTo>
                  <a:lnTo>
                    <a:pt x="1082" y="732"/>
                  </a:lnTo>
                  <a:lnTo>
                    <a:pt x="1088" y="737"/>
                  </a:lnTo>
                  <a:lnTo>
                    <a:pt x="1094" y="737"/>
                  </a:lnTo>
                  <a:lnTo>
                    <a:pt x="1094" y="743"/>
                  </a:lnTo>
                  <a:lnTo>
                    <a:pt x="1094" y="749"/>
                  </a:lnTo>
                  <a:lnTo>
                    <a:pt x="1094" y="754"/>
                  </a:lnTo>
                  <a:lnTo>
                    <a:pt x="1094" y="760"/>
                  </a:lnTo>
                  <a:lnTo>
                    <a:pt x="1094" y="771"/>
                  </a:lnTo>
                  <a:lnTo>
                    <a:pt x="1094" y="777"/>
                  </a:lnTo>
                  <a:lnTo>
                    <a:pt x="1088" y="783"/>
                  </a:lnTo>
                  <a:lnTo>
                    <a:pt x="1082" y="788"/>
                  </a:lnTo>
                  <a:lnTo>
                    <a:pt x="1071" y="788"/>
                  </a:lnTo>
                  <a:lnTo>
                    <a:pt x="1054" y="794"/>
                  </a:lnTo>
                  <a:lnTo>
                    <a:pt x="1048" y="800"/>
                  </a:lnTo>
                  <a:lnTo>
                    <a:pt x="1043" y="800"/>
                  </a:lnTo>
                  <a:lnTo>
                    <a:pt x="1037" y="800"/>
                  </a:lnTo>
                  <a:lnTo>
                    <a:pt x="1031" y="800"/>
                  </a:lnTo>
                  <a:lnTo>
                    <a:pt x="1026" y="805"/>
                  </a:lnTo>
                  <a:lnTo>
                    <a:pt x="1026" y="811"/>
                  </a:lnTo>
                  <a:lnTo>
                    <a:pt x="1020" y="817"/>
                  </a:lnTo>
                  <a:lnTo>
                    <a:pt x="1014" y="822"/>
                  </a:lnTo>
                  <a:lnTo>
                    <a:pt x="1009" y="828"/>
                  </a:lnTo>
                  <a:lnTo>
                    <a:pt x="1003" y="828"/>
                  </a:lnTo>
                  <a:lnTo>
                    <a:pt x="997" y="828"/>
                  </a:lnTo>
                  <a:lnTo>
                    <a:pt x="997" y="834"/>
                  </a:lnTo>
                  <a:lnTo>
                    <a:pt x="986" y="834"/>
                  </a:lnTo>
                  <a:lnTo>
                    <a:pt x="980" y="834"/>
                  </a:lnTo>
                  <a:lnTo>
                    <a:pt x="980" y="839"/>
                  </a:lnTo>
                  <a:lnTo>
                    <a:pt x="969" y="839"/>
                  </a:lnTo>
                  <a:lnTo>
                    <a:pt x="963" y="845"/>
                  </a:lnTo>
                  <a:lnTo>
                    <a:pt x="958" y="851"/>
                  </a:lnTo>
                  <a:lnTo>
                    <a:pt x="952" y="851"/>
                  </a:lnTo>
                  <a:lnTo>
                    <a:pt x="946" y="856"/>
                  </a:lnTo>
                  <a:lnTo>
                    <a:pt x="946" y="862"/>
                  </a:lnTo>
                  <a:lnTo>
                    <a:pt x="941" y="868"/>
                  </a:lnTo>
                  <a:lnTo>
                    <a:pt x="935" y="868"/>
                  </a:lnTo>
                  <a:lnTo>
                    <a:pt x="935" y="873"/>
                  </a:lnTo>
                  <a:lnTo>
                    <a:pt x="924" y="873"/>
                  </a:lnTo>
                  <a:lnTo>
                    <a:pt x="918" y="879"/>
                  </a:lnTo>
                  <a:lnTo>
                    <a:pt x="912" y="879"/>
                  </a:lnTo>
                  <a:lnTo>
                    <a:pt x="907" y="879"/>
                  </a:lnTo>
                  <a:lnTo>
                    <a:pt x="901" y="879"/>
                  </a:lnTo>
                  <a:lnTo>
                    <a:pt x="901" y="873"/>
                  </a:lnTo>
                  <a:lnTo>
                    <a:pt x="895" y="873"/>
                  </a:lnTo>
                  <a:lnTo>
                    <a:pt x="890" y="868"/>
                  </a:lnTo>
                  <a:lnTo>
                    <a:pt x="890" y="862"/>
                  </a:lnTo>
                  <a:lnTo>
                    <a:pt x="878" y="862"/>
                  </a:lnTo>
                  <a:lnTo>
                    <a:pt x="873" y="862"/>
                  </a:lnTo>
                  <a:lnTo>
                    <a:pt x="867" y="856"/>
                  </a:lnTo>
                  <a:lnTo>
                    <a:pt x="861" y="856"/>
                  </a:lnTo>
                  <a:lnTo>
                    <a:pt x="856" y="862"/>
                  </a:lnTo>
                  <a:lnTo>
                    <a:pt x="856" y="873"/>
                  </a:lnTo>
                  <a:lnTo>
                    <a:pt x="850" y="879"/>
                  </a:lnTo>
                  <a:lnTo>
                    <a:pt x="850" y="885"/>
                  </a:lnTo>
                  <a:lnTo>
                    <a:pt x="844" y="885"/>
                  </a:lnTo>
                  <a:lnTo>
                    <a:pt x="844" y="890"/>
                  </a:lnTo>
                  <a:lnTo>
                    <a:pt x="839" y="890"/>
                  </a:lnTo>
                  <a:lnTo>
                    <a:pt x="839" y="896"/>
                  </a:lnTo>
                  <a:lnTo>
                    <a:pt x="839" y="902"/>
                  </a:lnTo>
                  <a:lnTo>
                    <a:pt x="839" y="907"/>
                  </a:lnTo>
                  <a:lnTo>
                    <a:pt x="833" y="907"/>
                  </a:lnTo>
                  <a:lnTo>
                    <a:pt x="833" y="913"/>
                  </a:lnTo>
                  <a:lnTo>
                    <a:pt x="827" y="913"/>
                  </a:lnTo>
                  <a:lnTo>
                    <a:pt x="827" y="919"/>
                  </a:lnTo>
                  <a:lnTo>
                    <a:pt x="827" y="924"/>
                  </a:lnTo>
                  <a:lnTo>
                    <a:pt x="822" y="924"/>
                  </a:lnTo>
                  <a:lnTo>
                    <a:pt x="822" y="930"/>
                  </a:lnTo>
                  <a:lnTo>
                    <a:pt x="816" y="930"/>
                  </a:lnTo>
                  <a:lnTo>
                    <a:pt x="816" y="936"/>
                  </a:lnTo>
                  <a:lnTo>
                    <a:pt x="810" y="936"/>
                  </a:lnTo>
                  <a:lnTo>
                    <a:pt x="810" y="941"/>
                  </a:lnTo>
                  <a:lnTo>
                    <a:pt x="805" y="947"/>
                  </a:lnTo>
                  <a:lnTo>
                    <a:pt x="799" y="953"/>
                  </a:lnTo>
                  <a:lnTo>
                    <a:pt x="799" y="958"/>
                  </a:lnTo>
                  <a:lnTo>
                    <a:pt x="799" y="964"/>
                  </a:lnTo>
                  <a:lnTo>
                    <a:pt x="793" y="964"/>
                  </a:lnTo>
                  <a:lnTo>
                    <a:pt x="788" y="964"/>
                  </a:lnTo>
                  <a:lnTo>
                    <a:pt x="776" y="970"/>
                  </a:lnTo>
                  <a:lnTo>
                    <a:pt x="771" y="975"/>
                  </a:lnTo>
                  <a:lnTo>
                    <a:pt x="765" y="975"/>
                  </a:lnTo>
                  <a:lnTo>
                    <a:pt x="759" y="981"/>
                  </a:lnTo>
                  <a:lnTo>
                    <a:pt x="759" y="987"/>
                  </a:lnTo>
                  <a:lnTo>
                    <a:pt x="759" y="992"/>
                  </a:lnTo>
                  <a:lnTo>
                    <a:pt x="759" y="998"/>
                  </a:lnTo>
                  <a:lnTo>
                    <a:pt x="759" y="1004"/>
                  </a:lnTo>
                  <a:lnTo>
                    <a:pt x="754" y="1004"/>
                  </a:lnTo>
                  <a:lnTo>
                    <a:pt x="737" y="1004"/>
                  </a:lnTo>
                  <a:lnTo>
                    <a:pt x="725" y="1004"/>
                  </a:lnTo>
                  <a:lnTo>
                    <a:pt x="720" y="1009"/>
                  </a:lnTo>
                  <a:lnTo>
                    <a:pt x="714" y="1009"/>
                  </a:lnTo>
                  <a:lnTo>
                    <a:pt x="708" y="1009"/>
                  </a:lnTo>
                  <a:lnTo>
                    <a:pt x="703" y="1009"/>
                  </a:lnTo>
                  <a:lnTo>
                    <a:pt x="703" y="1015"/>
                  </a:lnTo>
                  <a:lnTo>
                    <a:pt x="697" y="1015"/>
                  </a:lnTo>
                  <a:lnTo>
                    <a:pt x="691" y="1015"/>
                  </a:lnTo>
                  <a:lnTo>
                    <a:pt x="680" y="1015"/>
                  </a:lnTo>
                  <a:lnTo>
                    <a:pt x="663" y="1015"/>
                  </a:lnTo>
                  <a:lnTo>
                    <a:pt x="657" y="1015"/>
                  </a:lnTo>
                  <a:lnTo>
                    <a:pt x="652" y="1015"/>
                  </a:lnTo>
                  <a:lnTo>
                    <a:pt x="646" y="1015"/>
                  </a:lnTo>
                  <a:lnTo>
                    <a:pt x="646" y="1021"/>
                  </a:lnTo>
                  <a:lnTo>
                    <a:pt x="640" y="1021"/>
                  </a:lnTo>
                  <a:lnTo>
                    <a:pt x="635" y="1026"/>
                  </a:lnTo>
                  <a:lnTo>
                    <a:pt x="635" y="1038"/>
                  </a:lnTo>
                  <a:lnTo>
                    <a:pt x="635" y="1043"/>
                  </a:lnTo>
                  <a:lnTo>
                    <a:pt x="629" y="1055"/>
                  </a:lnTo>
                  <a:lnTo>
                    <a:pt x="623" y="1072"/>
                  </a:lnTo>
                  <a:lnTo>
                    <a:pt x="618" y="1083"/>
                  </a:lnTo>
                  <a:lnTo>
                    <a:pt x="618" y="1089"/>
                  </a:lnTo>
                  <a:lnTo>
                    <a:pt x="612" y="1094"/>
                  </a:lnTo>
                  <a:lnTo>
                    <a:pt x="612" y="1100"/>
                  </a:lnTo>
                  <a:lnTo>
                    <a:pt x="612" y="1106"/>
                  </a:lnTo>
                  <a:lnTo>
                    <a:pt x="606" y="1106"/>
                  </a:lnTo>
                  <a:lnTo>
                    <a:pt x="606" y="1111"/>
                  </a:lnTo>
                  <a:lnTo>
                    <a:pt x="606" y="1117"/>
                  </a:lnTo>
                  <a:lnTo>
                    <a:pt x="606" y="1123"/>
                  </a:lnTo>
                  <a:lnTo>
                    <a:pt x="606" y="1128"/>
                  </a:lnTo>
                  <a:lnTo>
                    <a:pt x="606" y="1134"/>
                  </a:lnTo>
                  <a:lnTo>
                    <a:pt x="601" y="1134"/>
                  </a:lnTo>
                  <a:lnTo>
                    <a:pt x="601" y="1151"/>
                  </a:lnTo>
                  <a:lnTo>
                    <a:pt x="601" y="1157"/>
                  </a:lnTo>
                  <a:lnTo>
                    <a:pt x="595" y="1157"/>
                  </a:lnTo>
                  <a:lnTo>
                    <a:pt x="595" y="1162"/>
                  </a:lnTo>
                  <a:lnTo>
                    <a:pt x="589" y="1162"/>
                  </a:lnTo>
                  <a:lnTo>
                    <a:pt x="584" y="1162"/>
                  </a:lnTo>
                  <a:lnTo>
                    <a:pt x="584" y="1168"/>
                  </a:lnTo>
                  <a:lnTo>
                    <a:pt x="572" y="1168"/>
                  </a:lnTo>
                  <a:lnTo>
                    <a:pt x="555" y="1162"/>
                  </a:lnTo>
                  <a:lnTo>
                    <a:pt x="544" y="1162"/>
                  </a:lnTo>
                  <a:lnTo>
                    <a:pt x="538" y="1162"/>
                  </a:lnTo>
                  <a:lnTo>
                    <a:pt x="533" y="1162"/>
                  </a:lnTo>
                  <a:lnTo>
                    <a:pt x="527" y="1162"/>
                  </a:lnTo>
                  <a:lnTo>
                    <a:pt x="521" y="1157"/>
                  </a:lnTo>
                  <a:lnTo>
                    <a:pt x="516" y="1151"/>
                  </a:lnTo>
                  <a:lnTo>
                    <a:pt x="510" y="1151"/>
                  </a:lnTo>
                  <a:lnTo>
                    <a:pt x="504" y="1145"/>
                  </a:lnTo>
                  <a:lnTo>
                    <a:pt x="499" y="1145"/>
                  </a:lnTo>
                  <a:lnTo>
                    <a:pt x="493" y="1140"/>
                  </a:lnTo>
                  <a:lnTo>
                    <a:pt x="487" y="1134"/>
                  </a:lnTo>
                  <a:lnTo>
                    <a:pt x="482" y="1134"/>
                  </a:lnTo>
                  <a:lnTo>
                    <a:pt x="476" y="1128"/>
                  </a:lnTo>
                  <a:lnTo>
                    <a:pt x="470" y="1123"/>
                  </a:lnTo>
                  <a:lnTo>
                    <a:pt x="465" y="1123"/>
                  </a:lnTo>
                  <a:lnTo>
                    <a:pt x="459" y="1123"/>
                  </a:lnTo>
                  <a:lnTo>
                    <a:pt x="453" y="1123"/>
                  </a:lnTo>
                  <a:lnTo>
                    <a:pt x="448" y="1128"/>
                  </a:lnTo>
                  <a:lnTo>
                    <a:pt x="442" y="1128"/>
                  </a:lnTo>
                  <a:lnTo>
                    <a:pt x="442" y="1134"/>
                  </a:lnTo>
                  <a:lnTo>
                    <a:pt x="436" y="1134"/>
                  </a:lnTo>
                  <a:lnTo>
                    <a:pt x="431" y="1140"/>
                  </a:lnTo>
                  <a:lnTo>
                    <a:pt x="419" y="1145"/>
                  </a:lnTo>
                  <a:lnTo>
                    <a:pt x="419" y="1151"/>
                  </a:lnTo>
                  <a:lnTo>
                    <a:pt x="414" y="1157"/>
                  </a:lnTo>
                  <a:lnTo>
                    <a:pt x="402" y="1168"/>
                  </a:lnTo>
                  <a:lnTo>
                    <a:pt x="397" y="1168"/>
                  </a:lnTo>
                  <a:lnTo>
                    <a:pt x="391" y="1174"/>
                  </a:lnTo>
                  <a:lnTo>
                    <a:pt x="385" y="1179"/>
                  </a:lnTo>
                  <a:lnTo>
                    <a:pt x="385" y="1185"/>
                  </a:lnTo>
                  <a:lnTo>
                    <a:pt x="380" y="1185"/>
                  </a:lnTo>
                  <a:lnTo>
                    <a:pt x="363" y="1202"/>
                  </a:lnTo>
                  <a:lnTo>
                    <a:pt x="357" y="1208"/>
                  </a:lnTo>
                  <a:lnTo>
                    <a:pt x="351" y="1214"/>
                  </a:lnTo>
                  <a:lnTo>
                    <a:pt x="346" y="1219"/>
                  </a:lnTo>
                  <a:lnTo>
                    <a:pt x="340" y="1219"/>
                  </a:lnTo>
                  <a:lnTo>
                    <a:pt x="334" y="1219"/>
                  </a:lnTo>
                  <a:lnTo>
                    <a:pt x="323" y="1219"/>
                  </a:lnTo>
                  <a:lnTo>
                    <a:pt x="306" y="1219"/>
                  </a:lnTo>
                  <a:lnTo>
                    <a:pt x="294" y="1219"/>
                  </a:lnTo>
                  <a:lnTo>
                    <a:pt x="289" y="1219"/>
                  </a:lnTo>
                  <a:lnTo>
                    <a:pt x="277" y="1219"/>
                  </a:lnTo>
                  <a:lnTo>
                    <a:pt x="272" y="1225"/>
                  </a:lnTo>
                  <a:lnTo>
                    <a:pt x="266" y="1225"/>
                  </a:lnTo>
                  <a:lnTo>
                    <a:pt x="260" y="1225"/>
                  </a:lnTo>
                  <a:lnTo>
                    <a:pt x="260" y="1231"/>
                  </a:lnTo>
                  <a:lnTo>
                    <a:pt x="255" y="1231"/>
                  </a:lnTo>
                  <a:lnTo>
                    <a:pt x="249" y="1231"/>
                  </a:lnTo>
                  <a:lnTo>
                    <a:pt x="243" y="1236"/>
                  </a:lnTo>
                  <a:lnTo>
                    <a:pt x="238" y="1236"/>
                  </a:lnTo>
                  <a:lnTo>
                    <a:pt x="232" y="1242"/>
                  </a:lnTo>
                  <a:lnTo>
                    <a:pt x="226" y="1242"/>
                  </a:lnTo>
                  <a:lnTo>
                    <a:pt x="221" y="1248"/>
                  </a:lnTo>
                  <a:lnTo>
                    <a:pt x="215" y="1259"/>
                  </a:lnTo>
                  <a:lnTo>
                    <a:pt x="209" y="1259"/>
                  </a:lnTo>
                  <a:lnTo>
                    <a:pt x="209" y="1265"/>
                  </a:lnTo>
                  <a:lnTo>
                    <a:pt x="204" y="1265"/>
                  </a:lnTo>
                  <a:lnTo>
                    <a:pt x="204" y="1270"/>
                  </a:lnTo>
                  <a:lnTo>
                    <a:pt x="198" y="1276"/>
                  </a:lnTo>
                  <a:lnTo>
                    <a:pt x="192" y="1276"/>
                  </a:lnTo>
                  <a:lnTo>
                    <a:pt x="192" y="1282"/>
                  </a:lnTo>
                  <a:lnTo>
                    <a:pt x="192" y="1287"/>
                  </a:lnTo>
                  <a:lnTo>
                    <a:pt x="192" y="1293"/>
                  </a:lnTo>
                  <a:lnTo>
                    <a:pt x="187" y="1304"/>
                  </a:lnTo>
                  <a:lnTo>
                    <a:pt x="187" y="1316"/>
                  </a:lnTo>
                  <a:lnTo>
                    <a:pt x="187" y="1321"/>
                  </a:lnTo>
                  <a:lnTo>
                    <a:pt x="181" y="1321"/>
                  </a:lnTo>
                  <a:lnTo>
                    <a:pt x="170" y="1333"/>
                  </a:lnTo>
                  <a:lnTo>
                    <a:pt x="164" y="1333"/>
                  </a:lnTo>
                  <a:lnTo>
                    <a:pt x="153" y="1333"/>
                  </a:lnTo>
                  <a:lnTo>
                    <a:pt x="147" y="1333"/>
                  </a:lnTo>
                  <a:lnTo>
                    <a:pt x="141" y="1333"/>
                  </a:lnTo>
                  <a:lnTo>
                    <a:pt x="136" y="1333"/>
                  </a:lnTo>
                  <a:lnTo>
                    <a:pt x="124" y="1333"/>
                  </a:lnTo>
                  <a:lnTo>
                    <a:pt x="119" y="1333"/>
                  </a:lnTo>
                  <a:lnTo>
                    <a:pt x="96" y="1321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27" name="Freeform 5"/>
            <p:cNvSpPr>
              <a:spLocks/>
            </p:cNvSpPr>
            <p:nvPr/>
          </p:nvSpPr>
          <p:spPr bwMode="gray">
            <a:xfrm>
              <a:off x="2918787" y="1060131"/>
              <a:ext cx="1210694" cy="1005887"/>
            </a:xfrm>
            <a:custGeom>
              <a:avLst/>
              <a:gdLst>
                <a:gd name="T0" fmla="*/ 0 w 862"/>
                <a:gd name="T1" fmla="*/ 2147483647 h 754"/>
                <a:gd name="T2" fmla="*/ 2147483647 w 862"/>
                <a:gd name="T3" fmla="*/ 2147483647 h 754"/>
                <a:gd name="T4" fmla="*/ 2147483647 w 862"/>
                <a:gd name="T5" fmla="*/ 2147483647 h 754"/>
                <a:gd name="T6" fmla="*/ 2147483647 w 862"/>
                <a:gd name="T7" fmla="*/ 2147483647 h 754"/>
                <a:gd name="T8" fmla="*/ 2147483647 w 862"/>
                <a:gd name="T9" fmla="*/ 2147483647 h 754"/>
                <a:gd name="T10" fmla="*/ 2147483647 w 862"/>
                <a:gd name="T11" fmla="*/ 2147483647 h 754"/>
                <a:gd name="T12" fmla="*/ 2147483647 w 862"/>
                <a:gd name="T13" fmla="*/ 2147483647 h 754"/>
                <a:gd name="T14" fmla="*/ 2147483647 w 862"/>
                <a:gd name="T15" fmla="*/ 2147483647 h 754"/>
                <a:gd name="T16" fmla="*/ 2147483647 w 862"/>
                <a:gd name="T17" fmla="*/ 2147483647 h 754"/>
                <a:gd name="T18" fmla="*/ 2147483647 w 862"/>
                <a:gd name="T19" fmla="*/ 2147483647 h 754"/>
                <a:gd name="T20" fmla="*/ 2147483647 w 862"/>
                <a:gd name="T21" fmla="*/ 2147483647 h 754"/>
                <a:gd name="T22" fmla="*/ 2147483647 w 862"/>
                <a:gd name="T23" fmla="*/ 2147483647 h 754"/>
                <a:gd name="T24" fmla="*/ 2147483647 w 862"/>
                <a:gd name="T25" fmla="*/ 2147483647 h 754"/>
                <a:gd name="T26" fmla="*/ 2147483647 w 862"/>
                <a:gd name="T27" fmla="*/ 2147483647 h 754"/>
                <a:gd name="T28" fmla="*/ 2147483647 w 862"/>
                <a:gd name="T29" fmla="*/ 2147483647 h 754"/>
                <a:gd name="T30" fmla="*/ 2147483647 w 862"/>
                <a:gd name="T31" fmla="*/ 2147483647 h 754"/>
                <a:gd name="T32" fmla="*/ 2147483647 w 862"/>
                <a:gd name="T33" fmla="*/ 2147483647 h 754"/>
                <a:gd name="T34" fmla="*/ 2147483647 w 862"/>
                <a:gd name="T35" fmla="*/ 2147483647 h 754"/>
                <a:gd name="T36" fmla="*/ 2147483647 w 862"/>
                <a:gd name="T37" fmla="*/ 2147483647 h 754"/>
                <a:gd name="T38" fmla="*/ 2147483647 w 862"/>
                <a:gd name="T39" fmla="*/ 2147483647 h 754"/>
                <a:gd name="T40" fmla="*/ 2147483647 w 862"/>
                <a:gd name="T41" fmla="*/ 2147483647 h 754"/>
                <a:gd name="T42" fmla="*/ 2147483647 w 862"/>
                <a:gd name="T43" fmla="*/ 2147483647 h 754"/>
                <a:gd name="T44" fmla="*/ 2147483647 w 862"/>
                <a:gd name="T45" fmla="*/ 2147483647 h 754"/>
                <a:gd name="T46" fmla="*/ 2147483647 w 862"/>
                <a:gd name="T47" fmla="*/ 2147483647 h 754"/>
                <a:gd name="T48" fmla="*/ 2147483647 w 862"/>
                <a:gd name="T49" fmla="*/ 2147483647 h 754"/>
                <a:gd name="T50" fmla="*/ 2147483647 w 862"/>
                <a:gd name="T51" fmla="*/ 2147483647 h 754"/>
                <a:gd name="T52" fmla="*/ 2147483647 w 862"/>
                <a:gd name="T53" fmla="*/ 2147483647 h 754"/>
                <a:gd name="T54" fmla="*/ 2147483647 w 862"/>
                <a:gd name="T55" fmla="*/ 2147483647 h 754"/>
                <a:gd name="T56" fmla="*/ 2147483647 w 862"/>
                <a:gd name="T57" fmla="*/ 2147483647 h 754"/>
                <a:gd name="T58" fmla="*/ 2147483647 w 862"/>
                <a:gd name="T59" fmla="*/ 2147483647 h 754"/>
                <a:gd name="T60" fmla="*/ 2147483647 w 862"/>
                <a:gd name="T61" fmla="*/ 2147483647 h 754"/>
                <a:gd name="T62" fmla="*/ 2147483647 w 862"/>
                <a:gd name="T63" fmla="*/ 2147483647 h 754"/>
                <a:gd name="T64" fmla="*/ 2147483647 w 862"/>
                <a:gd name="T65" fmla="*/ 2147483647 h 754"/>
                <a:gd name="T66" fmla="*/ 2147483647 w 862"/>
                <a:gd name="T67" fmla="*/ 2147483647 h 754"/>
                <a:gd name="T68" fmla="*/ 2147483647 w 862"/>
                <a:gd name="T69" fmla="*/ 2147483647 h 754"/>
                <a:gd name="T70" fmla="*/ 2147483647 w 862"/>
                <a:gd name="T71" fmla="*/ 2147483647 h 754"/>
                <a:gd name="T72" fmla="*/ 2147483647 w 862"/>
                <a:gd name="T73" fmla="*/ 2147483647 h 754"/>
                <a:gd name="T74" fmla="*/ 2147483647 w 862"/>
                <a:gd name="T75" fmla="*/ 2147483647 h 754"/>
                <a:gd name="T76" fmla="*/ 2147483647 w 862"/>
                <a:gd name="T77" fmla="*/ 2147483647 h 754"/>
                <a:gd name="T78" fmla="*/ 2147483647 w 862"/>
                <a:gd name="T79" fmla="*/ 2147483647 h 754"/>
                <a:gd name="T80" fmla="*/ 2147483647 w 862"/>
                <a:gd name="T81" fmla="*/ 2147483647 h 754"/>
                <a:gd name="T82" fmla="*/ 2147483647 w 862"/>
                <a:gd name="T83" fmla="*/ 2147483647 h 754"/>
                <a:gd name="T84" fmla="*/ 2147483647 w 862"/>
                <a:gd name="T85" fmla="*/ 2147483647 h 754"/>
                <a:gd name="T86" fmla="*/ 2147483647 w 862"/>
                <a:gd name="T87" fmla="*/ 2147483647 h 754"/>
                <a:gd name="T88" fmla="*/ 2147483647 w 862"/>
                <a:gd name="T89" fmla="*/ 2147483647 h 754"/>
                <a:gd name="T90" fmla="*/ 2147483647 w 862"/>
                <a:gd name="T91" fmla="*/ 2147483647 h 754"/>
                <a:gd name="T92" fmla="*/ 2147483647 w 862"/>
                <a:gd name="T93" fmla="*/ 2147483647 h 754"/>
                <a:gd name="T94" fmla="*/ 2147483647 w 862"/>
                <a:gd name="T95" fmla="*/ 2147483647 h 754"/>
                <a:gd name="T96" fmla="*/ 2147483647 w 862"/>
                <a:gd name="T97" fmla="*/ 2147483647 h 754"/>
                <a:gd name="T98" fmla="*/ 2147483647 w 862"/>
                <a:gd name="T99" fmla="*/ 2147483647 h 754"/>
                <a:gd name="T100" fmla="*/ 2147483647 w 862"/>
                <a:gd name="T101" fmla="*/ 2147483647 h 754"/>
                <a:gd name="T102" fmla="*/ 2147483647 w 862"/>
                <a:gd name="T103" fmla="*/ 2147483647 h 754"/>
                <a:gd name="T104" fmla="*/ 2147483647 w 862"/>
                <a:gd name="T105" fmla="*/ 2147483647 h 754"/>
                <a:gd name="T106" fmla="*/ 2147483647 w 862"/>
                <a:gd name="T107" fmla="*/ 2147483647 h 754"/>
                <a:gd name="T108" fmla="*/ 2147483647 w 862"/>
                <a:gd name="T109" fmla="*/ 2147483647 h 754"/>
                <a:gd name="T110" fmla="*/ 2147483647 w 862"/>
                <a:gd name="T111" fmla="*/ 2147483647 h 754"/>
                <a:gd name="T112" fmla="*/ 2147483647 w 862"/>
                <a:gd name="T113" fmla="*/ 2147483647 h 754"/>
                <a:gd name="T114" fmla="*/ 2147483647 w 862"/>
                <a:gd name="T115" fmla="*/ 2147483647 h 75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62"/>
                <a:gd name="T175" fmla="*/ 0 h 754"/>
                <a:gd name="T176" fmla="*/ 862 w 862"/>
                <a:gd name="T177" fmla="*/ 754 h 75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62" h="754">
                  <a:moveTo>
                    <a:pt x="40" y="165"/>
                  </a:moveTo>
                  <a:lnTo>
                    <a:pt x="34" y="165"/>
                  </a:lnTo>
                  <a:lnTo>
                    <a:pt x="28" y="165"/>
                  </a:lnTo>
                  <a:lnTo>
                    <a:pt x="28" y="159"/>
                  </a:lnTo>
                  <a:lnTo>
                    <a:pt x="17" y="159"/>
                  </a:lnTo>
                  <a:lnTo>
                    <a:pt x="11" y="159"/>
                  </a:lnTo>
                  <a:lnTo>
                    <a:pt x="11" y="153"/>
                  </a:lnTo>
                  <a:lnTo>
                    <a:pt x="0" y="148"/>
                  </a:lnTo>
                  <a:lnTo>
                    <a:pt x="0" y="142"/>
                  </a:lnTo>
                  <a:lnTo>
                    <a:pt x="0" y="136"/>
                  </a:lnTo>
                  <a:lnTo>
                    <a:pt x="0" y="131"/>
                  </a:lnTo>
                  <a:lnTo>
                    <a:pt x="0" y="125"/>
                  </a:lnTo>
                  <a:lnTo>
                    <a:pt x="0" y="114"/>
                  </a:lnTo>
                  <a:lnTo>
                    <a:pt x="0" y="97"/>
                  </a:lnTo>
                  <a:lnTo>
                    <a:pt x="0" y="91"/>
                  </a:lnTo>
                  <a:lnTo>
                    <a:pt x="0" y="85"/>
                  </a:lnTo>
                  <a:lnTo>
                    <a:pt x="6" y="80"/>
                  </a:lnTo>
                  <a:lnTo>
                    <a:pt x="11" y="74"/>
                  </a:lnTo>
                  <a:lnTo>
                    <a:pt x="23" y="74"/>
                  </a:lnTo>
                  <a:lnTo>
                    <a:pt x="28" y="74"/>
                  </a:lnTo>
                  <a:lnTo>
                    <a:pt x="34" y="74"/>
                  </a:lnTo>
                  <a:lnTo>
                    <a:pt x="40" y="74"/>
                  </a:lnTo>
                  <a:lnTo>
                    <a:pt x="45" y="74"/>
                  </a:lnTo>
                  <a:lnTo>
                    <a:pt x="51" y="80"/>
                  </a:lnTo>
                  <a:lnTo>
                    <a:pt x="57" y="80"/>
                  </a:lnTo>
                  <a:lnTo>
                    <a:pt x="62" y="80"/>
                  </a:lnTo>
                  <a:lnTo>
                    <a:pt x="68" y="85"/>
                  </a:lnTo>
                  <a:lnTo>
                    <a:pt x="74" y="85"/>
                  </a:lnTo>
                  <a:lnTo>
                    <a:pt x="79" y="80"/>
                  </a:lnTo>
                  <a:lnTo>
                    <a:pt x="85" y="80"/>
                  </a:lnTo>
                  <a:lnTo>
                    <a:pt x="91" y="80"/>
                  </a:lnTo>
                  <a:lnTo>
                    <a:pt x="96" y="80"/>
                  </a:lnTo>
                  <a:lnTo>
                    <a:pt x="102" y="74"/>
                  </a:lnTo>
                  <a:lnTo>
                    <a:pt x="113" y="74"/>
                  </a:lnTo>
                  <a:lnTo>
                    <a:pt x="125" y="74"/>
                  </a:lnTo>
                  <a:lnTo>
                    <a:pt x="130" y="74"/>
                  </a:lnTo>
                  <a:lnTo>
                    <a:pt x="130" y="80"/>
                  </a:lnTo>
                  <a:lnTo>
                    <a:pt x="142" y="85"/>
                  </a:lnTo>
                  <a:lnTo>
                    <a:pt x="142" y="97"/>
                  </a:lnTo>
                  <a:lnTo>
                    <a:pt x="147" y="97"/>
                  </a:lnTo>
                  <a:lnTo>
                    <a:pt x="153" y="102"/>
                  </a:lnTo>
                  <a:lnTo>
                    <a:pt x="159" y="108"/>
                  </a:lnTo>
                  <a:lnTo>
                    <a:pt x="159" y="114"/>
                  </a:lnTo>
                  <a:lnTo>
                    <a:pt x="164" y="119"/>
                  </a:lnTo>
                  <a:lnTo>
                    <a:pt x="170" y="119"/>
                  </a:lnTo>
                  <a:lnTo>
                    <a:pt x="170" y="125"/>
                  </a:lnTo>
                  <a:lnTo>
                    <a:pt x="176" y="125"/>
                  </a:lnTo>
                  <a:lnTo>
                    <a:pt x="181" y="131"/>
                  </a:lnTo>
                  <a:lnTo>
                    <a:pt x="187" y="131"/>
                  </a:lnTo>
                  <a:lnTo>
                    <a:pt x="198" y="136"/>
                  </a:lnTo>
                  <a:lnTo>
                    <a:pt x="210" y="136"/>
                  </a:lnTo>
                  <a:lnTo>
                    <a:pt x="215" y="142"/>
                  </a:lnTo>
                  <a:lnTo>
                    <a:pt x="215" y="136"/>
                  </a:lnTo>
                  <a:lnTo>
                    <a:pt x="232" y="136"/>
                  </a:lnTo>
                  <a:lnTo>
                    <a:pt x="238" y="136"/>
                  </a:lnTo>
                  <a:lnTo>
                    <a:pt x="244" y="136"/>
                  </a:lnTo>
                  <a:lnTo>
                    <a:pt x="249" y="131"/>
                  </a:lnTo>
                  <a:lnTo>
                    <a:pt x="255" y="131"/>
                  </a:lnTo>
                  <a:lnTo>
                    <a:pt x="261" y="125"/>
                  </a:lnTo>
                  <a:lnTo>
                    <a:pt x="266" y="125"/>
                  </a:lnTo>
                  <a:lnTo>
                    <a:pt x="266" y="119"/>
                  </a:lnTo>
                  <a:lnTo>
                    <a:pt x="272" y="119"/>
                  </a:lnTo>
                  <a:lnTo>
                    <a:pt x="272" y="114"/>
                  </a:lnTo>
                  <a:lnTo>
                    <a:pt x="272" y="108"/>
                  </a:lnTo>
                  <a:lnTo>
                    <a:pt x="278" y="108"/>
                  </a:lnTo>
                  <a:lnTo>
                    <a:pt x="278" y="102"/>
                  </a:lnTo>
                  <a:lnTo>
                    <a:pt x="283" y="102"/>
                  </a:lnTo>
                  <a:lnTo>
                    <a:pt x="283" y="97"/>
                  </a:lnTo>
                  <a:lnTo>
                    <a:pt x="289" y="91"/>
                  </a:lnTo>
                  <a:lnTo>
                    <a:pt x="278" y="68"/>
                  </a:lnTo>
                  <a:lnTo>
                    <a:pt x="283" y="74"/>
                  </a:lnTo>
                  <a:lnTo>
                    <a:pt x="289" y="74"/>
                  </a:lnTo>
                  <a:lnTo>
                    <a:pt x="289" y="68"/>
                  </a:lnTo>
                  <a:lnTo>
                    <a:pt x="295" y="68"/>
                  </a:lnTo>
                  <a:lnTo>
                    <a:pt x="300" y="68"/>
                  </a:lnTo>
                  <a:lnTo>
                    <a:pt x="317" y="68"/>
                  </a:lnTo>
                  <a:lnTo>
                    <a:pt x="323" y="68"/>
                  </a:lnTo>
                  <a:lnTo>
                    <a:pt x="329" y="68"/>
                  </a:lnTo>
                  <a:lnTo>
                    <a:pt x="334" y="68"/>
                  </a:lnTo>
                  <a:lnTo>
                    <a:pt x="346" y="74"/>
                  </a:lnTo>
                  <a:lnTo>
                    <a:pt x="351" y="74"/>
                  </a:lnTo>
                  <a:lnTo>
                    <a:pt x="357" y="74"/>
                  </a:lnTo>
                  <a:lnTo>
                    <a:pt x="368" y="74"/>
                  </a:lnTo>
                  <a:lnTo>
                    <a:pt x="374" y="74"/>
                  </a:lnTo>
                  <a:lnTo>
                    <a:pt x="380" y="74"/>
                  </a:lnTo>
                  <a:lnTo>
                    <a:pt x="385" y="74"/>
                  </a:lnTo>
                  <a:lnTo>
                    <a:pt x="397" y="80"/>
                  </a:lnTo>
                  <a:lnTo>
                    <a:pt x="402" y="80"/>
                  </a:lnTo>
                  <a:lnTo>
                    <a:pt x="408" y="80"/>
                  </a:lnTo>
                  <a:lnTo>
                    <a:pt x="414" y="80"/>
                  </a:lnTo>
                  <a:lnTo>
                    <a:pt x="419" y="80"/>
                  </a:lnTo>
                  <a:lnTo>
                    <a:pt x="425" y="80"/>
                  </a:lnTo>
                  <a:lnTo>
                    <a:pt x="431" y="74"/>
                  </a:lnTo>
                  <a:lnTo>
                    <a:pt x="436" y="74"/>
                  </a:lnTo>
                  <a:lnTo>
                    <a:pt x="442" y="74"/>
                  </a:lnTo>
                  <a:lnTo>
                    <a:pt x="448" y="74"/>
                  </a:lnTo>
                  <a:lnTo>
                    <a:pt x="465" y="80"/>
                  </a:lnTo>
                  <a:lnTo>
                    <a:pt x="470" y="80"/>
                  </a:lnTo>
                  <a:lnTo>
                    <a:pt x="476" y="80"/>
                  </a:lnTo>
                  <a:lnTo>
                    <a:pt x="482" y="80"/>
                  </a:lnTo>
                  <a:lnTo>
                    <a:pt x="487" y="80"/>
                  </a:lnTo>
                  <a:lnTo>
                    <a:pt x="493" y="80"/>
                  </a:lnTo>
                  <a:lnTo>
                    <a:pt x="499" y="80"/>
                  </a:lnTo>
                  <a:lnTo>
                    <a:pt x="504" y="80"/>
                  </a:lnTo>
                  <a:lnTo>
                    <a:pt x="504" y="91"/>
                  </a:lnTo>
                  <a:lnTo>
                    <a:pt x="527" y="85"/>
                  </a:lnTo>
                  <a:lnTo>
                    <a:pt x="538" y="85"/>
                  </a:lnTo>
                  <a:lnTo>
                    <a:pt x="544" y="85"/>
                  </a:lnTo>
                  <a:lnTo>
                    <a:pt x="550" y="85"/>
                  </a:lnTo>
                  <a:lnTo>
                    <a:pt x="555" y="85"/>
                  </a:lnTo>
                  <a:lnTo>
                    <a:pt x="561" y="85"/>
                  </a:lnTo>
                  <a:lnTo>
                    <a:pt x="567" y="85"/>
                  </a:lnTo>
                  <a:lnTo>
                    <a:pt x="572" y="85"/>
                  </a:lnTo>
                  <a:lnTo>
                    <a:pt x="578" y="85"/>
                  </a:lnTo>
                  <a:lnTo>
                    <a:pt x="584" y="85"/>
                  </a:lnTo>
                  <a:lnTo>
                    <a:pt x="595" y="85"/>
                  </a:lnTo>
                  <a:lnTo>
                    <a:pt x="601" y="85"/>
                  </a:lnTo>
                  <a:lnTo>
                    <a:pt x="601" y="80"/>
                  </a:lnTo>
                  <a:lnTo>
                    <a:pt x="606" y="80"/>
                  </a:lnTo>
                  <a:lnTo>
                    <a:pt x="606" y="74"/>
                  </a:lnTo>
                  <a:lnTo>
                    <a:pt x="612" y="74"/>
                  </a:lnTo>
                  <a:lnTo>
                    <a:pt x="612" y="68"/>
                  </a:lnTo>
                  <a:lnTo>
                    <a:pt x="618" y="57"/>
                  </a:lnTo>
                  <a:lnTo>
                    <a:pt x="623" y="51"/>
                  </a:lnTo>
                  <a:lnTo>
                    <a:pt x="623" y="46"/>
                  </a:lnTo>
                  <a:lnTo>
                    <a:pt x="623" y="40"/>
                  </a:lnTo>
                  <a:lnTo>
                    <a:pt x="629" y="40"/>
                  </a:lnTo>
                  <a:lnTo>
                    <a:pt x="635" y="40"/>
                  </a:lnTo>
                  <a:lnTo>
                    <a:pt x="635" y="34"/>
                  </a:lnTo>
                  <a:lnTo>
                    <a:pt x="641" y="34"/>
                  </a:lnTo>
                  <a:lnTo>
                    <a:pt x="641" y="29"/>
                  </a:lnTo>
                  <a:lnTo>
                    <a:pt x="646" y="29"/>
                  </a:lnTo>
                  <a:lnTo>
                    <a:pt x="652" y="29"/>
                  </a:lnTo>
                  <a:lnTo>
                    <a:pt x="658" y="29"/>
                  </a:lnTo>
                  <a:lnTo>
                    <a:pt x="669" y="23"/>
                  </a:lnTo>
                  <a:lnTo>
                    <a:pt x="675" y="23"/>
                  </a:lnTo>
                  <a:lnTo>
                    <a:pt x="680" y="17"/>
                  </a:lnTo>
                  <a:lnTo>
                    <a:pt x="692" y="17"/>
                  </a:lnTo>
                  <a:lnTo>
                    <a:pt x="697" y="11"/>
                  </a:lnTo>
                  <a:lnTo>
                    <a:pt x="709" y="6"/>
                  </a:lnTo>
                  <a:lnTo>
                    <a:pt x="720" y="0"/>
                  </a:lnTo>
                  <a:lnTo>
                    <a:pt x="720" y="6"/>
                  </a:lnTo>
                  <a:lnTo>
                    <a:pt x="726" y="6"/>
                  </a:lnTo>
                  <a:lnTo>
                    <a:pt x="731" y="6"/>
                  </a:lnTo>
                  <a:lnTo>
                    <a:pt x="731" y="11"/>
                  </a:lnTo>
                  <a:lnTo>
                    <a:pt x="737" y="17"/>
                  </a:lnTo>
                  <a:lnTo>
                    <a:pt x="737" y="23"/>
                  </a:lnTo>
                  <a:lnTo>
                    <a:pt x="737" y="34"/>
                  </a:lnTo>
                  <a:lnTo>
                    <a:pt x="743" y="46"/>
                  </a:lnTo>
                  <a:lnTo>
                    <a:pt x="748" y="57"/>
                  </a:lnTo>
                  <a:lnTo>
                    <a:pt x="743" y="68"/>
                  </a:lnTo>
                  <a:lnTo>
                    <a:pt x="748" y="68"/>
                  </a:lnTo>
                  <a:lnTo>
                    <a:pt x="748" y="74"/>
                  </a:lnTo>
                  <a:lnTo>
                    <a:pt x="748" y="80"/>
                  </a:lnTo>
                  <a:lnTo>
                    <a:pt x="754" y="85"/>
                  </a:lnTo>
                  <a:lnTo>
                    <a:pt x="760" y="85"/>
                  </a:lnTo>
                  <a:lnTo>
                    <a:pt x="765" y="85"/>
                  </a:lnTo>
                  <a:lnTo>
                    <a:pt x="765" y="80"/>
                  </a:lnTo>
                  <a:lnTo>
                    <a:pt x="771" y="80"/>
                  </a:lnTo>
                  <a:lnTo>
                    <a:pt x="777" y="80"/>
                  </a:lnTo>
                  <a:lnTo>
                    <a:pt x="777" y="74"/>
                  </a:lnTo>
                  <a:lnTo>
                    <a:pt x="782" y="74"/>
                  </a:lnTo>
                  <a:lnTo>
                    <a:pt x="788" y="80"/>
                  </a:lnTo>
                  <a:lnTo>
                    <a:pt x="794" y="80"/>
                  </a:lnTo>
                  <a:lnTo>
                    <a:pt x="794" y="85"/>
                  </a:lnTo>
                  <a:lnTo>
                    <a:pt x="799" y="85"/>
                  </a:lnTo>
                  <a:lnTo>
                    <a:pt x="805" y="85"/>
                  </a:lnTo>
                  <a:lnTo>
                    <a:pt x="811" y="85"/>
                  </a:lnTo>
                  <a:lnTo>
                    <a:pt x="833" y="85"/>
                  </a:lnTo>
                  <a:lnTo>
                    <a:pt x="839" y="85"/>
                  </a:lnTo>
                  <a:lnTo>
                    <a:pt x="845" y="91"/>
                  </a:lnTo>
                  <a:lnTo>
                    <a:pt x="850" y="97"/>
                  </a:lnTo>
                  <a:lnTo>
                    <a:pt x="850" y="108"/>
                  </a:lnTo>
                  <a:lnTo>
                    <a:pt x="850" y="119"/>
                  </a:lnTo>
                  <a:lnTo>
                    <a:pt x="856" y="131"/>
                  </a:lnTo>
                  <a:lnTo>
                    <a:pt x="856" y="142"/>
                  </a:lnTo>
                  <a:lnTo>
                    <a:pt x="862" y="165"/>
                  </a:lnTo>
                  <a:lnTo>
                    <a:pt x="862" y="182"/>
                  </a:lnTo>
                  <a:lnTo>
                    <a:pt x="862" y="187"/>
                  </a:lnTo>
                  <a:lnTo>
                    <a:pt x="862" y="193"/>
                  </a:lnTo>
                  <a:lnTo>
                    <a:pt x="856" y="193"/>
                  </a:lnTo>
                  <a:lnTo>
                    <a:pt x="850" y="193"/>
                  </a:lnTo>
                  <a:lnTo>
                    <a:pt x="850" y="199"/>
                  </a:lnTo>
                  <a:lnTo>
                    <a:pt x="845" y="199"/>
                  </a:lnTo>
                  <a:lnTo>
                    <a:pt x="839" y="204"/>
                  </a:lnTo>
                  <a:lnTo>
                    <a:pt x="833" y="210"/>
                  </a:lnTo>
                  <a:lnTo>
                    <a:pt x="828" y="210"/>
                  </a:lnTo>
                  <a:lnTo>
                    <a:pt x="822" y="210"/>
                  </a:lnTo>
                  <a:lnTo>
                    <a:pt x="822" y="216"/>
                  </a:lnTo>
                  <a:lnTo>
                    <a:pt x="822" y="221"/>
                  </a:lnTo>
                  <a:lnTo>
                    <a:pt x="816" y="221"/>
                  </a:lnTo>
                  <a:lnTo>
                    <a:pt x="811" y="221"/>
                  </a:lnTo>
                  <a:lnTo>
                    <a:pt x="805" y="221"/>
                  </a:lnTo>
                  <a:lnTo>
                    <a:pt x="799" y="216"/>
                  </a:lnTo>
                  <a:lnTo>
                    <a:pt x="794" y="216"/>
                  </a:lnTo>
                  <a:lnTo>
                    <a:pt x="782" y="221"/>
                  </a:lnTo>
                  <a:lnTo>
                    <a:pt x="777" y="221"/>
                  </a:lnTo>
                  <a:lnTo>
                    <a:pt x="771" y="221"/>
                  </a:lnTo>
                  <a:lnTo>
                    <a:pt x="760" y="221"/>
                  </a:lnTo>
                  <a:lnTo>
                    <a:pt x="754" y="221"/>
                  </a:lnTo>
                  <a:lnTo>
                    <a:pt x="748" y="227"/>
                  </a:lnTo>
                  <a:lnTo>
                    <a:pt x="743" y="227"/>
                  </a:lnTo>
                  <a:lnTo>
                    <a:pt x="737" y="233"/>
                  </a:lnTo>
                  <a:lnTo>
                    <a:pt x="737" y="238"/>
                  </a:lnTo>
                  <a:lnTo>
                    <a:pt x="731" y="238"/>
                  </a:lnTo>
                  <a:lnTo>
                    <a:pt x="726" y="238"/>
                  </a:lnTo>
                  <a:lnTo>
                    <a:pt x="726" y="244"/>
                  </a:lnTo>
                  <a:lnTo>
                    <a:pt x="726" y="250"/>
                  </a:lnTo>
                  <a:lnTo>
                    <a:pt x="720" y="255"/>
                  </a:lnTo>
                  <a:lnTo>
                    <a:pt x="720" y="267"/>
                  </a:lnTo>
                  <a:lnTo>
                    <a:pt x="714" y="278"/>
                  </a:lnTo>
                  <a:lnTo>
                    <a:pt x="714" y="284"/>
                  </a:lnTo>
                  <a:lnTo>
                    <a:pt x="709" y="295"/>
                  </a:lnTo>
                  <a:lnTo>
                    <a:pt x="709" y="318"/>
                  </a:lnTo>
                  <a:lnTo>
                    <a:pt x="709" y="340"/>
                  </a:lnTo>
                  <a:lnTo>
                    <a:pt x="709" y="346"/>
                  </a:lnTo>
                  <a:lnTo>
                    <a:pt x="709" y="352"/>
                  </a:lnTo>
                  <a:lnTo>
                    <a:pt x="703" y="352"/>
                  </a:lnTo>
                  <a:lnTo>
                    <a:pt x="703" y="357"/>
                  </a:lnTo>
                  <a:lnTo>
                    <a:pt x="703" y="363"/>
                  </a:lnTo>
                  <a:lnTo>
                    <a:pt x="697" y="369"/>
                  </a:lnTo>
                  <a:lnTo>
                    <a:pt x="692" y="374"/>
                  </a:lnTo>
                  <a:lnTo>
                    <a:pt x="692" y="380"/>
                  </a:lnTo>
                  <a:lnTo>
                    <a:pt x="686" y="380"/>
                  </a:lnTo>
                  <a:lnTo>
                    <a:pt x="680" y="380"/>
                  </a:lnTo>
                  <a:lnTo>
                    <a:pt x="675" y="380"/>
                  </a:lnTo>
                  <a:lnTo>
                    <a:pt x="663" y="386"/>
                  </a:lnTo>
                  <a:lnTo>
                    <a:pt x="658" y="386"/>
                  </a:lnTo>
                  <a:lnTo>
                    <a:pt x="652" y="391"/>
                  </a:lnTo>
                  <a:lnTo>
                    <a:pt x="646" y="391"/>
                  </a:lnTo>
                  <a:lnTo>
                    <a:pt x="641" y="397"/>
                  </a:lnTo>
                  <a:lnTo>
                    <a:pt x="635" y="397"/>
                  </a:lnTo>
                  <a:lnTo>
                    <a:pt x="635" y="403"/>
                  </a:lnTo>
                  <a:lnTo>
                    <a:pt x="629" y="403"/>
                  </a:lnTo>
                  <a:lnTo>
                    <a:pt x="623" y="403"/>
                  </a:lnTo>
                  <a:lnTo>
                    <a:pt x="618" y="408"/>
                  </a:lnTo>
                  <a:lnTo>
                    <a:pt x="601" y="414"/>
                  </a:lnTo>
                  <a:lnTo>
                    <a:pt x="595" y="414"/>
                  </a:lnTo>
                  <a:lnTo>
                    <a:pt x="595" y="420"/>
                  </a:lnTo>
                  <a:lnTo>
                    <a:pt x="589" y="420"/>
                  </a:lnTo>
                  <a:lnTo>
                    <a:pt x="584" y="420"/>
                  </a:lnTo>
                  <a:lnTo>
                    <a:pt x="578" y="420"/>
                  </a:lnTo>
                  <a:lnTo>
                    <a:pt x="572" y="420"/>
                  </a:lnTo>
                  <a:lnTo>
                    <a:pt x="567" y="425"/>
                  </a:lnTo>
                  <a:lnTo>
                    <a:pt x="561" y="425"/>
                  </a:lnTo>
                  <a:lnTo>
                    <a:pt x="555" y="431"/>
                  </a:lnTo>
                  <a:lnTo>
                    <a:pt x="550" y="431"/>
                  </a:lnTo>
                  <a:lnTo>
                    <a:pt x="544" y="437"/>
                  </a:lnTo>
                  <a:lnTo>
                    <a:pt x="538" y="437"/>
                  </a:lnTo>
                  <a:lnTo>
                    <a:pt x="538" y="442"/>
                  </a:lnTo>
                  <a:lnTo>
                    <a:pt x="538" y="448"/>
                  </a:lnTo>
                  <a:lnTo>
                    <a:pt x="533" y="448"/>
                  </a:lnTo>
                  <a:lnTo>
                    <a:pt x="533" y="454"/>
                  </a:lnTo>
                  <a:lnTo>
                    <a:pt x="527" y="454"/>
                  </a:lnTo>
                  <a:lnTo>
                    <a:pt x="527" y="459"/>
                  </a:lnTo>
                  <a:lnTo>
                    <a:pt x="521" y="459"/>
                  </a:lnTo>
                  <a:lnTo>
                    <a:pt x="521" y="465"/>
                  </a:lnTo>
                  <a:lnTo>
                    <a:pt x="527" y="471"/>
                  </a:lnTo>
                  <a:lnTo>
                    <a:pt x="527" y="476"/>
                  </a:lnTo>
                  <a:lnTo>
                    <a:pt x="533" y="476"/>
                  </a:lnTo>
                  <a:lnTo>
                    <a:pt x="538" y="476"/>
                  </a:lnTo>
                  <a:lnTo>
                    <a:pt x="544" y="476"/>
                  </a:lnTo>
                  <a:lnTo>
                    <a:pt x="550" y="471"/>
                  </a:lnTo>
                  <a:lnTo>
                    <a:pt x="555" y="471"/>
                  </a:lnTo>
                  <a:lnTo>
                    <a:pt x="561" y="471"/>
                  </a:lnTo>
                  <a:lnTo>
                    <a:pt x="561" y="465"/>
                  </a:lnTo>
                  <a:lnTo>
                    <a:pt x="567" y="465"/>
                  </a:lnTo>
                  <a:lnTo>
                    <a:pt x="572" y="465"/>
                  </a:lnTo>
                  <a:lnTo>
                    <a:pt x="578" y="471"/>
                  </a:lnTo>
                  <a:lnTo>
                    <a:pt x="578" y="476"/>
                  </a:lnTo>
                  <a:lnTo>
                    <a:pt x="584" y="482"/>
                  </a:lnTo>
                  <a:lnTo>
                    <a:pt x="589" y="488"/>
                  </a:lnTo>
                  <a:lnTo>
                    <a:pt x="589" y="493"/>
                  </a:lnTo>
                  <a:lnTo>
                    <a:pt x="589" y="499"/>
                  </a:lnTo>
                  <a:lnTo>
                    <a:pt x="589" y="505"/>
                  </a:lnTo>
                  <a:lnTo>
                    <a:pt x="595" y="505"/>
                  </a:lnTo>
                  <a:lnTo>
                    <a:pt x="589" y="516"/>
                  </a:lnTo>
                  <a:lnTo>
                    <a:pt x="589" y="522"/>
                  </a:lnTo>
                  <a:lnTo>
                    <a:pt x="589" y="527"/>
                  </a:lnTo>
                  <a:lnTo>
                    <a:pt x="589" y="533"/>
                  </a:lnTo>
                  <a:lnTo>
                    <a:pt x="589" y="539"/>
                  </a:lnTo>
                  <a:lnTo>
                    <a:pt x="584" y="539"/>
                  </a:lnTo>
                  <a:lnTo>
                    <a:pt x="584" y="544"/>
                  </a:lnTo>
                  <a:lnTo>
                    <a:pt x="578" y="544"/>
                  </a:lnTo>
                  <a:lnTo>
                    <a:pt x="578" y="550"/>
                  </a:lnTo>
                  <a:lnTo>
                    <a:pt x="578" y="556"/>
                  </a:lnTo>
                  <a:lnTo>
                    <a:pt x="578" y="561"/>
                  </a:lnTo>
                  <a:lnTo>
                    <a:pt x="584" y="561"/>
                  </a:lnTo>
                  <a:lnTo>
                    <a:pt x="584" y="567"/>
                  </a:lnTo>
                  <a:lnTo>
                    <a:pt x="589" y="567"/>
                  </a:lnTo>
                  <a:lnTo>
                    <a:pt x="589" y="573"/>
                  </a:lnTo>
                  <a:lnTo>
                    <a:pt x="595" y="573"/>
                  </a:lnTo>
                  <a:lnTo>
                    <a:pt x="601" y="573"/>
                  </a:lnTo>
                  <a:lnTo>
                    <a:pt x="606" y="578"/>
                  </a:lnTo>
                  <a:lnTo>
                    <a:pt x="606" y="584"/>
                  </a:lnTo>
                  <a:lnTo>
                    <a:pt x="618" y="595"/>
                  </a:lnTo>
                  <a:lnTo>
                    <a:pt x="618" y="601"/>
                  </a:lnTo>
                  <a:lnTo>
                    <a:pt x="618" y="607"/>
                  </a:lnTo>
                  <a:lnTo>
                    <a:pt x="623" y="607"/>
                  </a:lnTo>
                  <a:lnTo>
                    <a:pt x="623" y="612"/>
                  </a:lnTo>
                  <a:lnTo>
                    <a:pt x="623" y="618"/>
                  </a:lnTo>
                  <a:lnTo>
                    <a:pt x="629" y="618"/>
                  </a:lnTo>
                  <a:lnTo>
                    <a:pt x="635" y="624"/>
                  </a:lnTo>
                  <a:lnTo>
                    <a:pt x="635" y="629"/>
                  </a:lnTo>
                  <a:lnTo>
                    <a:pt x="641" y="635"/>
                  </a:lnTo>
                  <a:lnTo>
                    <a:pt x="652" y="641"/>
                  </a:lnTo>
                  <a:lnTo>
                    <a:pt x="663" y="641"/>
                  </a:lnTo>
                  <a:lnTo>
                    <a:pt x="669" y="641"/>
                  </a:lnTo>
                  <a:lnTo>
                    <a:pt x="675" y="641"/>
                  </a:lnTo>
                  <a:lnTo>
                    <a:pt x="680" y="641"/>
                  </a:lnTo>
                  <a:lnTo>
                    <a:pt x="692" y="641"/>
                  </a:lnTo>
                  <a:lnTo>
                    <a:pt x="703" y="646"/>
                  </a:lnTo>
                  <a:lnTo>
                    <a:pt x="714" y="646"/>
                  </a:lnTo>
                  <a:lnTo>
                    <a:pt x="720" y="646"/>
                  </a:lnTo>
                  <a:lnTo>
                    <a:pt x="731" y="652"/>
                  </a:lnTo>
                  <a:lnTo>
                    <a:pt x="743" y="658"/>
                  </a:lnTo>
                  <a:lnTo>
                    <a:pt x="748" y="658"/>
                  </a:lnTo>
                  <a:lnTo>
                    <a:pt x="754" y="658"/>
                  </a:lnTo>
                  <a:lnTo>
                    <a:pt x="760" y="658"/>
                  </a:lnTo>
                  <a:lnTo>
                    <a:pt x="771" y="658"/>
                  </a:lnTo>
                  <a:lnTo>
                    <a:pt x="777" y="663"/>
                  </a:lnTo>
                  <a:lnTo>
                    <a:pt x="777" y="669"/>
                  </a:lnTo>
                  <a:lnTo>
                    <a:pt x="777" y="675"/>
                  </a:lnTo>
                  <a:lnTo>
                    <a:pt x="777" y="680"/>
                  </a:lnTo>
                  <a:lnTo>
                    <a:pt x="771" y="680"/>
                  </a:lnTo>
                  <a:lnTo>
                    <a:pt x="771" y="686"/>
                  </a:lnTo>
                  <a:lnTo>
                    <a:pt x="765" y="686"/>
                  </a:lnTo>
                  <a:lnTo>
                    <a:pt x="760" y="692"/>
                  </a:lnTo>
                  <a:lnTo>
                    <a:pt x="760" y="697"/>
                  </a:lnTo>
                  <a:lnTo>
                    <a:pt x="754" y="697"/>
                  </a:lnTo>
                  <a:lnTo>
                    <a:pt x="748" y="697"/>
                  </a:lnTo>
                  <a:lnTo>
                    <a:pt x="743" y="697"/>
                  </a:lnTo>
                  <a:lnTo>
                    <a:pt x="731" y="697"/>
                  </a:lnTo>
                  <a:lnTo>
                    <a:pt x="726" y="703"/>
                  </a:lnTo>
                  <a:lnTo>
                    <a:pt x="720" y="703"/>
                  </a:lnTo>
                  <a:lnTo>
                    <a:pt x="714" y="709"/>
                  </a:lnTo>
                  <a:lnTo>
                    <a:pt x="709" y="709"/>
                  </a:lnTo>
                  <a:lnTo>
                    <a:pt x="703" y="714"/>
                  </a:lnTo>
                  <a:lnTo>
                    <a:pt x="703" y="726"/>
                  </a:lnTo>
                  <a:lnTo>
                    <a:pt x="703" y="731"/>
                  </a:lnTo>
                  <a:lnTo>
                    <a:pt x="703" y="737"/>
                  </a:lnTo>
                  <a:lnTo>
                    <a:pt x="709" y="737"/>
                  </a:lnTo>
                  <a:lnTo>
                    <a:pt x="714" y="743"/>
                  </a:lnTo>
                  <a:lnTo>
                    <a:pt x="720" y="748"/>
                  </a:lnTo>
                  <a:lnTo>
                    <a:pt x="720" y="754"/>
                  </a:lnTo>
                  <a:lnTo>
                    <a:pt x="714" y="754"/>
                  </a:lnTo>
                  <a:lnTo>
                    <a:pt x="709" y="754"/>
                  </a:lnTo>
                  <a:lnTo>
                    <a:pt x="703" y="748"/>
                  </a:lnTo>
                  <a:lnTo>
                    <a:pt x="697" y="748"/>
                  </a:lnTo>
                  <a:lnTo>
                    <a:pt x="697" y="743"/>
                  </a:lnTo>
                  <a:lnTo>
                    <a:pt x="692" y="743"/>
                  </a:lnTo>
                  <a:lnTo>
                    <a:pt x="686" y="743"/>
                  </a:lnTo>
                  <a:lnTo>
                    <a:pt x="663" y="743"/>
                  </a:lnTo>
                  <a:lnTo>
                    <a:pt x="646" y="737"/>
                  </a:lnTo>
                  <a:lnTo>
                    <a:pt x="641" y="737"/>
                  </a:lnTo>
                  <a:lnTo>
                    <a:pt x="635" y="743"/>
                  </a:lnTo>
                  <a:lnTo>
                    <a:pt x="629" y="737"/>
                  </a:lnTo>
                  <a:lnTo>
                    <a:pt x="623" y="731"/>
                  </a:lnTo>
                  <a:lnTo>
                    <a:pt x="623" y="726"/>
                  </a:lnTo>
                  <a:lnTo>
                    <a:pt x="618" y="714"/>
                  </a:lnTo>
                  <a:lnTo>
                    <a:pt x="618" y="697"/>
                  </a:lnTo>
                  <a:lnTo>
                    <a:pt x="612" y="686"/>
                  </a:lnTo>
                  <a:lnTo>
                    <a:pt x="612" y="680"/>
                  </a:lnTo>
                  <a:lnTo>
                    <a:pt x="606" y="669"/>
                  </a:lnTo>
                  <a:lnTo>
                    <a:pt x="606" y="663"/>
                  </a:lnTo>
                  <a:lnTo>
                    <a:pt x="601" y="658"/>
                  </a:lnTo>
                  <a:lnTo>
                    <a:pt x="601" y="652"/>
                  </a:lnTo>
                  <a:lnTo>
                    <a:pt x="595" y="652"/>
                  </a:lnTo>
                  <a:lnTo>
                    <a:pt x="595" y="646"/>
                  </a:lnTo>
                  <a:lnTo>
                    <a:pt x="589" y="646"/>
                  </a:lnTo>
                  <a:lnTo>
                    <a:pt x="589" y="641"/>
                  </a:lnTo>
                  <a:lnTo>
                    <a:pt x="584" y="641"/>
                  </a:lnTo>
                  <a:lnTo>
                    <a:pt x="578" y="641"/>
                  </a:lnTo>
                  <a:lnTo>
                    <a:pt x="572" y="641"/>
                  </a:lnTo>
                  <a:lnTo>
                    <a:pt x="561" y="641"/>
                  </a:lnTo>
                  <a:lnTo>
                    <a:pt x="555" y="646"/>
                  </a:lnTo>
                  <a:lnTo>
                    <a:pt x="550" y="646"/>
                  </a:lnTo>
                  <a:lnTo>
                    <a:pt x="544" y="646"/>
                  </a:lnTo>
                  <a:lnTo>
                    <a:pt x="538" y="646"/>
                  </a:lnTo>
                  <a:lnTo>
                    <a:pt x="533" y="646"/>
                  </a:lnTo>
                  <a:lnTo>
                    <a:pt x="521" y="646"/>
                  </a:lnTo>
                  <a:lnTo>
                    <a:pt x="516" y="646"/>
                  </a:lnTo>
                  <a:lnTo>
                    <a:pt x="510" y="646"/>
                  </a:lnTo>
                  <a:lnTo>
                    <a:pt x="510" y="641"/>
                  </a:lnTo>
                  <a:lnTo>
                    <a:pt x="504" y="635"/>
                  </a:lnTo>
                  <a:lnTo>
                    <a:pt x="504" y="629"/>
                  </a:lnTo>
                  <a:lnTo>
                    <a:pt x="504" y="624"/>
                  </a:lnTo>
                  <a:lnTo>
                    <a:pt x="499" y="618"/>
                  </a:lnTo>
                  <a:lnTo>
                    <a:pt x="493" y="618"/>
                  </a:lnTo>
                  <a:lnTo>
                    <a:pt x="487" y="618"/>
                  </a:lnTo>
                  <a:lnTo>
                    <a:pt x="482" y="618"/>
                  </a:lnTo>
                  <a:lnTo>
                    <a:pt x="476" y="624"/>
                  </a:lnTo>
                  <a:lnTo>
                    <a:pt x="465" y="629"/>
                  </a:lnTo>
                  <a:lnTo>
                    <a:pt x="453" y="624"/>
                  </a:lnTo>
                  <a:lnTo>
                    <a:pt x="448" y="624"/>
                  </a:lnTo>
                  <a:lnTo>
                    <a:pt x="448" y="618"/>
                  </a:lnTo>
                  <a:lnTo>
                    <a:pt x="442" y="618"/>
                  </a:lnTo>
                  <a:lnTo>
                    <a:pt x="436" y="618"/>
                  </a:lnTo>
                  <a:lnTo>
                    <a:pt x="436" y="612"/>
                  </a:lnTo>
                  <a:lnTo>
                    <a:pt x="431" y="612"/>
                  </a:lnTo>
                  <a:lnTo>
                    <a:pt x="425" y="612"/>
                  </a:lnTo>
                  <a:lnTo>
                    <a:pt x="419" y="612"/>
                  </a:lnTo>
                  <a:lnTo>
                    <a:pt x="419" y="607"/>
                  </a:lnTo>
                  <a:lnTo>
                    <a:pt x="408" y="607"/>
                  </a:lnTo>
                  <a:lnTo>
                    <a:pt x="402" y="607"/>
                  </a:lnTo>
                  <a:lnTo>
                    <a:pt x="397" y="612"/>
                  </a:lnTo>
                  <a:lnTo>
                    <a:pt x="391" y="607"/>
                  </a:lnTo>
                  <a:lnTo>
                    <a:pt x="397" y="601"/>
                  </a:lnTo>
                  <a:lnTo>
                    <a:pt x="397" y="595"/>
                  </a:lnTo>
                  <a:lnTo>
                    <a:pt x="397" y="590"/>
                  </a:lnTo>
                  <a:lnTo>
                    <a:pt x="391" y="584"/>
                  </a:lnTo>
                  <a:lnTo>
                    <a:pt x="397" y="578"/>
                  </a:lnTo>
                  <a:lnTo>
                    <a:pt x="397" y="573"/>
                  </a:lnTo>
                  <a:lnTo>
                    <a:pt x="402" y="561"/>
                  </a:lnTo>
                  <a:lnTo>
                    <a:pt x="408" y="556"/>
                  </a:lnTo>
                  <a:lnTo>
                    <a:pt x="414" y="556"/>
                  </a:lnTo>
                  <a:lnTo>
                    <a:pt x="419" y="556"/>
                  </a:lnTo>
                  <a:lnTo>
                    <a:pt x="425" y="556"/>
                  </a:lnTo>
                  <a:lnTo>
                    <a:pt x="425" y="550"/>
                  </a:lnTo>
                  <a:lnTo>
                    <a:pt x="431" y="544"/>
                  </a:lnTo>
                  <a:lnTo>
                    <a:pt x="436" y="539"/>
                  </a:lnTo>
                  <a:lnTo>
                    <a:pt x="436" y="533"/>
                  </a:lnTo>
                  <a:lnTo>
                    <a:pt x="436" y="527"/>
                  </a:lnTo>
                  <a:lnTo>
                    <a:pt x="431" y="527"/>
                  </a:lnTo>
                  <a:lnTo>
                    <a:pt x="425" y="527"/>
                  </a:lnTo>
                  <a:lnTo>
                    <a:pt x="419" y="527"/>
                  </a:lnTo>
                  <a:lnTo>
                    <a:pt x="419" y="522"/>
                  </a:lnTo>
                  <a:lnTo>
                    <a:pt x="419" y="516"/>
                  </a:lnTo>
                  <a:lnTo>
                    <a:pt x="414" y="516"/>
                  </a:lnTo>
                  <a:lnTo>
                    <a:pt x="408" y="510"/>
                  </a:lnTo>
                  <a:lnTo>
                    <a:pt x="402" y="505"/>
                  </a:lnTo>
                  <a:lnTo>
                    <a:pt x="397" y="505"/>
                  </a:lnTo>
                  <a:lnTo>
                    <a:pt x="391" y="499"/>
                  </a:lnTo>
                  <a:lnTo>
                    <a:pt x="391" y="493"/>
                  </a:lnTo>
                  <a:lnTo>
                    <a:pt x="391" y="488"/>
                  </a:lnTo>
                  <a:lnTo>
                    <a:pt x="391" y="482"/>
                  </a:lnTo>
                  <a:lnTo>
                    <a:pt x="397" y="482"/>
                  </a:lnTo>
                  <a:lnTo>
                    <a:pt x="397" y="476"/>
                  </a:lnTo>
                  <a:lnTo>
                    <a:pt x="397" y="471"/>
                  </a:lnTo>
                  <a:lnTo>
                    <a:pt x="391" y="471"/>
                  </a:lnTo>
                  <a:lnTo>
                    <a:pt x="380" y="476"/>
                  </a:lnTo>
                  <a:lnTo>
                    <a:pt x="368" y="476"/>
                  </a:lnTo>
                  <a:lnTo>
                    <a:pt x="363" y="476"/>
                  </a:lnTo>
                  <a:lnTo>
                    <a:pt x="363" y="471"/>
                  </a:lnTo>
                  <a:lnTo>
                    <a:pt x="363" y="465"/>
                  </a:lnTo>
                  <a:lnTo>
                    <a:pt x="363" y="459"/>
                  </a:lnTo>
                  <a:lnTo>
                    <a:pt x="363" y="448"/>
                  </a:lnTo>
                  <a:lnTo>
                    <a:pt x="363" y="442"/>
                  </a:lnTo>
                  <a:lnTo>
                    <a:pt x="363" y="437"/>
                  </a:lnTo>
                  <a:lnTo>
                    <a:pt x="368" y="437"/>
                  </a:lnTo>
                  <a:lnTo>
                    <a:pt x="368" y="431"/>
                  </a:lnTo>
                  <a:lnTo>
                    <a:pt x="374" y="431"/>
                  </a:lnTo>
                  <a:lnTo>
                    <a:pt x="380" y="431"/>
                  </a:lnTo>
                  <a:lnTo>
                    <a:pt x="380" y="425"/>
                  </a:lnTo>
                  <a:lnTo>
                    <a:pt x="385" y="420"/>
                  </a:lnTo>
                  <a:lnTo>
                    <a:pt x="385" y="403"/>
                  </a:lnTo>
                  <a:lnTo>
                    <a:pt x="385" y="391"/>
                  </a:lnTo>
                  <a:lnTo>
                    <a:pt x="385" y="386"/>
                  </a:lnTo>
                  <a:lnTo>
                    <a:pt x="385" y="380"/>
                  </a:lnTo>
                  <a:lnTo>
                    <a:pt x="380" y="374"/>
                  </a:lnTo>
                  <a:lnTo>
                    <a:pt x="380" y="363"/>
                  </a:lnTo>
                  <a:lnTo>
                    <a:pt x="380" y="352"/>
                  </a:lnTo>
                  <a:lnTo>
                    <a:pt x="374" y="346"/>
                  </a:lnTo>
                  <a:lnTo>
                    <a:pt x="368" y="346"/>
                  </a:lnTo>
                  <a:lnTo>
                    <a:pt x="368" y="340"/>
                  </a:lnTo>
                  <a:lnTo>
                    <a:pt x="363" y="346"/>
                  </a:lnTo>
                  <a:lnTo>
                    <a:pt x="363" y="352"/>
                  </a:lnTo>
                  <a:lnTo>
                    <a:pt x="357" y="352"/>
                  </a:lnTo>
                  <a:lnTo>
                    <a:pt x="357" y="357"/>
                  </a:lnTo>
                  <a:lnTo>
                    <a:pt x="357" y="363"/>
                  </a:lnTo>
                  <a:lnTo>
                    <a:pt x="357" y="369"/>
                  </a:lnTo>
                  <a:lnTo>
                    <a:pt x="351" y="369"/>
                  </a:lnTo>
                  <a:lnTo>
                    <a:pt x="346" y="369"/>
                  </a:lnTo>
                  <a:lnTo>
                    <a:pt x="340" y="363"/>
                  </a:lnTo>
                  <a:lnTo>
                    <a:pt x="334" y="363"/>
                  </a:lnTo>
                  <a:lnTo>
                    <a:pt x="334" y="357"/>
                  </a:lnTo>
                  <a:lnTo>
                    <a:pt x="334" y="352"/>
                  </a:lnTo>
                  <a:lnTo>
                    <a:pt x="334" y="346"/>
                  </a:lnTo>
                  <a:lnTo>
                    <a:pt x="329" y="340"/>
                  </a:lnTo>
                  <a:lnTo>
                    <a:pt x="317" y="346"/>
                  </a:lnTo>
                  <a:lnTo>
                    <a:pt x="312" y="346"/>
                  </a:lnTo>
                  <a:lnTo>
                    <a:pt x="306" y="352"/>
                  </a:lnTo>
                  <a:lnTo>
                    <a:pt x="300" y="352"/>
                  </a:lnTo>
                  <a:lnTo>
                    <a:pt x="289" y="346"/>
                  </a:lnTo>
                  <a:lnTo>
                    <a:pt x="283" y="346"/>
                  </a:lnTo>
                  <a:lnTo>
                    <a:pt x="283" y="340"/>
                  </a:lnTo>
                  <a:lnTo>
                    <a:pt x="278" y="340"/>
                  </a:lnTo>
                  <a:lnTo>
                    <a:pt x="278" y="335"/>
                  </a:lnTo>
                  <a:lnTo>
                    <a:pt x="283" y="335"/>
                  </a:lnTo>
                  <a:lnTo>
                    <a:pt x="283" y="329"/>
                  </a:lnTo>
                  <a:lnTo>
                    <a:pt x="283" y="323"/>
                  </a:lnTo>
                  <a:lnTo>
                    <a:pt x="289" y="323"/>
                  </a:lnTo>
                  <a:lnTo>
                    <a:pt x="289" y="318"/>
                  </a:lnTo>
                  <a:lnTo>
                    <a:pt x="289" y="312"/>
                  </a:lnTo>
                  <a:lnTo>
                    <a:pt x="295" y="312"/>
                  </a:lnTo>
                  <a:lnTo>
                    <a:pt x="295" y="306"/>
                  </a:lnTo>
                  <a:lnTo>
                    <a:pt x="289" y="306"/>
                  </a:lnTo>
                  <a:lnTo>
                    <a:pt x="289" y="301"/>
                  </a:lnTo>
                  <a:lnTo>
                    <a:pt x="283" y="301"/>
                  </a:lnTo>
                  <a:lnTo>
                    <a:pt x="283" y="295"/>
                  </a:lnTo>
                  <a:lnTo>
                    <a:pt x="283" y="284"/>
                  </a:lnTo>
                  <a:lnTo>
                    <a:pt x="278" y="284"/>
                  </a:lnTo>
                  <a:lnTo>
                    <a:pt x="278" y="278"/>
                  </a:lnTo>
                  <a:lnTo>
                    <a:pt x="278" y="272"/>
                  </a:lnTo>
                  <a:lnTo>
                    <a:pt x="272" y="272"/>
                  </a:lnTo>
                  <a:lnTo>
                    <a:pt x="272" y="267"/>
                  </a:lnTo>
                  <a:lnTo>
                    <a:pt x="266" y="267"/>
                  </a:lnTo>
                  <a:lnTo>
                    <a:pt x="255" y="267"/>
                  </a:lnTo>
                  <a:lnTo>
                    <a:pt x="249" y="267"/>
                  </a:lnTo>
                  <a:lnTo>
                    <a:pt x="238" y="272"/>
                  </a:lnTo>
                  <a:lnTo>
                    <a:pt x="232" y="272"/>
                  </a:lnTo>
                  <a:lnTo>
                    <a:pt x="227" y="267"/>
                  </a:lnTo>
                  <a:lnTo>
                    <a:pt x="221" y="267"/>
                  </a:lnTo>
                  <a:lnTo>
                    <a:pt x="221" y="255"/>
                  </a:lnTo>
                  <a:lnTo>
                    <a:pt x="221" y="250"/>
                  </a:lnTo>
                  <a:lnTo>
                    <a:pt x="227" y="244"/>
                  </a:lnTo>
                  <a:lnTo>
                    <a:pt x="227" y="238"/>
                  </a:lnTo>
                  <a:lnTo>
                    <a:pt x="227" y="233"/>
                  </a:lnTo>
                  <a:lnTo>
                    <a:pt x="227" y="227"/>
                  </a:lnTo>
                  <a:lnTo>
                    <a:pt x="221" y="227"/>
                  </a:lnTo>
                  <a:lnTo>
                    <a:pt x="221" y="221"/>
                  </a:lnTo>
                  <a:lnTo>
                    <a:pt x="215" y="221"/>
                  </a:lnTo>
                  <a:lnTo>
                    <a:pt x="210" y="221"/>
                  </a:lnTo>
                  <a:lnTo>
                    <a:pt x="198" y="221"/>
                  </a:lnTo>
                  <a:lnTo>
                    <a:pt x="193" y="216"/>
                  </a:lnTo>
                  <a:lnTo>
                    <a:pt x="193" y="210"/>
                  </a:lnTo>
                  <a:lnTo>
                    <a:pt x="187" y="210"/>
                  </a:lnTo>
                  <a:lnTo>
                    <a:pt x="187" y="204"/>
                  </a:lnTo>
                  <a:lnTo>
                    <a:pt x="187" y="199"/>
                  </a:lnTo>
                  <a:lnTo>
                    <a:pt x="193" y="193"/>
                  </a:lnTo>
                  <a:lnTo>
                    <a:pt x="198" y="193"/>
                  </a:lnTo>
                  <a:lnTo>
                    <a:pt x="198" y="182"/>
                  </a:lnTo>
                  <a:lnTo>
                    <a:pt x="198" y="176"/>
                  </a:lnTo>
                  <a:lnTo>
                    <a:pt x="198" y="170"/>
                  </a:lnTo>
                  <a:lnTo>
                    <a:pt x="193" y="170"/>
                  </a:lnTo>
                  <a:lnTo>
                    <a:pt x="187" y="170"/>
                  </a:lnTo>
                  <a:lnTo>
                    <a:pt x="181" y="170"/>
                  </a:lnTo>
                  <a:lnTo>
                    <a:pt x="176" y="170"/>
                  </a:lnTo>
                  <a:lnTo>
                    <a:pt x="170" y="170"/>
                  </a:lnTo>
                  <a:lnTo>
                    <a:pt x="164" y="170"/>
                  </a:lnTo>
                  <a:lnTo>
                    <a:pt x="159" y="170"/>
                  </a:lnTo>
                  <a:lnTo>
                    <a:pt x="159" y="165"/>
                  </a:lnTo>
                  <a:lnTo>
                    <a:pt x="153" y="165"/>
                  </a:lnTo>
                  <a:lnTo>
                    <a:pt x="153" y="159"/>
                  </a:lnTo>
                  <a:lnTo>
                    <a:pt x="147" y="159"/>
                  </a:lnTo>
                  <a:lnTo>
                    <a:pt x="142" y="159"/>
                  </a:lnTo>
                  <a:lnTo>
                    <a:pt x="142" y="165"/>
                  </a:lnTo>
                  <a:lnTo>
                    <a:pt x="136" y="165"/>
                  </a:lnTo>
                  <a:lnTo>
                    <a:pt x="130" y="165"/>
                  </a:lnTo>
                  <a:lnTo>
                    <a:pt x="130" y="170"/>
                  </a:lnTo>
                  <a:lnTo>
                    <a:pt x="119" y="170"/>
                  </a:lnTo>
                  <a:lnTo>
                    <a:pt x="113" y="170"/>
                  </a:lnTo>
                  <a:lnTo>
                    <a:pt x="108" y="170"/>
                  </a:lnTo>
                  <a:lnTo>
                    <a:pt x="102" y="170"/>
                  </a:lnTo>
                  <a:lnTo>
                    <a:pt x="96" y="176"/>
                  </a:lnTo>
                  <a:lnTo>
                    <a:pt x="96" y="182"/>
                  </a:lnTo>
                  <a:lnTo>
                    <a:pt x="91" y="182"/>
                  </a:lnTo>
                  <a:lnTo>
                    <a:pt x="91" y="187"/>
                  </a:lnTo>
                  <a:lnTo>
                    <a:pt x="91" y="193"/>
                  </a:lnTo>
                  <a:lnTo>
                    <a:pt x="85" y="193"/>
                  </a:lnTo>
                  <a:lnTo>
                    <a:pt x="85" y="199"/>
                  </a:lnTo>
                  <a:lnTo>
                    <a:pt x="85" y="204"/>
                  </a:lnTo>
                  <a:lnTo>
                    <a:pt x="79" y="204"/>
                  </a:lnTo>
                  <a:lnTo>
                    <a:pt x="79" y="210"/>
                  </a:lnTo>
                  <a:lnTo>
                    <a:pt x="79" y="216"/>
                  </a:lnTo>
                  <a:lnTo>
                    <a:pt x="79" y="221"/>
                  </a:lnTo>
                  <a:lnTo>
                    <a:pt x="74" y="227"/>
                  </a:lnTo>
                  <a:lnTo>
                    <a:pt x="74" y="221"/>
                  </a:lnTo>
                  <a:lnTo>
                    <a:pt x="68" y="221"/>
                  </a:lnTo>
                  <a:lnTo>
                    <a:pt x="68" y="210"/>
                  </a:lnTo>
                  <a:lnTo>
                    <a:pt x="68" y="204"/>
                  </a:lnTo>
                  <a:lnTo>
                    <a:pt x="68" y="199"/>
                  </a:lnTo>
                  <a:lnTo>
                    <a:pt x="68" y="193"/>
                  </a:lnTo>
                  <a:lnTo>
                    <a:pt x="62" y="193"/>
                  </a:lnTo>
                  <a:lnTo>
                    <a:pt x="57" y="187"/>
                  </a:lnTo>
                  <a:lnTo>
                    <a:pt x="57" y="182"/>
                  </a:lnTo>
                  <a:lnTo>
                    <a:pt x="51" y="182"/>
                  </a:lnTo>
                  <a:lnTo>
                    <a:pt x="45" y="176"/>
                  </a:lnTo>
                  <a:lnTo>
                    <a:pt x="45" y="170"/>
                  </a:lnTo>
                  <a:lnTo>
                    <a:pt x="40" y="170"/>
                  </a:lnTo>
                  <a:lnTo>
                    <a:pt x="40" y="165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gray">
            <a:xfrm>
              <a:off x="2671816" y="1272031"/>
              <a:ext cx="859029" cy="982910"/>
            </a:xfrm>
            <a:custGeom>
              <a:avLst/>
              <a:gdLst>
                <a:gd name="T0" fmla="*/ 2147483647 w 612"/>
                <a:gd name="T1" fmla="*/ 2147483647 h 737"/>
                <a:gd name="T2" fmla="*/ 2147483647 w 612"/>
                <a:gd name="T3" fmla="*/ 2147483647 h 737"/>
                <a:gd name="T4" fmla="*/ 2147483647 w 612"/>
                <a:gd name="T5" fmla="*/ 2147483647 h 737"/>
                <a:gd name="T6" fmla="*/ 2147483647 w 612"/>
                <a:gd name="T7" fmla="*/ 2147483647 h 737"/>
                <a:gd name="T8" fmla="*/ 2147483647 w 612"/>
                <a:gd name="T9" fmla="*/ 2147483647 h 737"/>
                <a:gd name="T10" fmla="*/ 2147483647 w 612"/>
                <a:gd name="T11" fmla="*/ 2147483647 h 737"/>
                <a:gd name="T12" fmla="*/ 2147483647 w 612"/>
                <a:gd name="T13" fmla="*/ 2147483647 h 737"/>
                <a:gd name="T14" fmla="*/ 2147483647 w 612"/>
                <a:gd name="T15" fmla="*/ 2147483647 h 737"/>
                <a:gd name="T16" fmla="*/ 2147483647 w 612"/>
                <a:gd name="T17" fmla="*/ 2147483647 h 737"/>
                <a:gd name="T18" fmla="*/ 2147483647 w 612"/>
                <a:gd name="T19" fmla="*/ 2147483647 h 737"/>
                <a:gd name="T20" fmla="*/ 2147483647 w 612"/>
                <a:gd name="T21" fmla="*/ 2147483647 h 737"/>
                <a:gd name="T22" fmla="*/ 2147483647 w 612"/>
                <a:gd name="T23" fmla="*/ 2147483647 h 737"/>
                <a:gd name="T24" fmla="*/ 2147483647 w 612"/>
                <a:gd name="T25" fmla="*/ 2147483647 h 737"/>
                <a:gd name="T26" fmla="*/ 2147483647 w 612"/>
                <a:gd name="T27" fmla="*/ 2147483647 h 737"/>
                <a:gd name="T28" fmla="*/ 2147483647 w 612"/>
                <a:gd name="T29" fmla="*/ 2147483647 h 737"/>
                <a:gd name="T30" fmla="*/ 2147483647 w 612"/>
                <a:gd name="T31" fmla="*/ 2147483647 h 737"/>
                <a:gd name="T32" fmla="*/ 2147483647 w 612"/>
                <a:gd name="T33" fmla="*/ 2147483647 h 737"/>
                <a:gd name="T34" fmla="*/ 2147483647 w 612"/>
                <a:gd name="T35" fmla="*/ 2147483647 h 737"/>
                <a:gd name="T36" fmla="*/ 2147483647 w 612"/>
                <a:gd name="T37" fmla="*/ 2147483647 h 737"/>
                <a:gd name="T38" fmla="*/ 2147483647 w 612"/>
                <a:gd name="T39" fmla="*/ 2147483647 h 737"/>
                <a:gd name="T40" fmla="*/ 2147483647 w 612"/>
                <a:gd name="T41" fmla="*/ 2147483647 h 737"/>
                <a:gd name="T42" fmla="*/ 2147483647 w 612"/>
                <a:gd name="T43" fmla="*/ 2147483647 h 737"/>
                <a:gd name="T44" fmla="*/ 2147483647 w 612"/>
                <a:gd name="T45" fmla="*/ 2147483647 h 737"/>
                <a:gd name="T46" fmla="*/ 2147483647 w 612"/>
                <a:gd name="T47" fmla="*/ 2147483647 h 737"/>
                <a:gd name="T48" fmla="*/ 2147483647 w 612"/>
                <a:gd name="T49" fmla="*/ 2147483647 h 737"/>
                <a:gd name="T50" fmla="*/ 2147483647 w 612"/>
                <a:gd name="T51" fmla="*/ 2147483647 h 737"/>
                <a:gd name="T52" fmla="*/ 2147483647 w 612"/>
                <a:gd name="T53" fmla="*/ 2147483647 h 737"/>
                <a:gd name="T54" fmla="*/ 2147483647 w 612"/>
                <a:gd name="T55" fmla="*/ 2147483647 h 737"/>
                <a:gd name="T56" fmla="*/ 2147483647 w 612"/>
                <a:gd name="T57" fmla="*/ 2147483647 h 737"/>
                <a:gd name="T58" fmla="*/ 2147483647 w 612"/>
                <a:gd name="T59" fmla="*/ 2147483647 h 737"/>
                <a:gd name="T60" fmla="*/ 2147483647 w 612"/>
                <a:gd name="T61" fmla="*/ 2147483647 h 737"/>
                <a:gd name="T62" fmla="*/ 2147483647 w 612"/>
                <a:gd name="T63" fmla="*/ 2147483647 h 737"/>
                <a:gd name="T64" fmla="*/ 2147483647 w 612"/>
                <a:gd name="T65" fmla="*/ 2147483647 h 737"/>
                <a:gd name="T66" fmla="*/ 2147483647 w 612"/>
                <a:gd name="T67" fmla="*/ 2147483647 h 737"/>
                <a:gd name="T68" fmla="*/ 2147483647 w 612"/>
                <a:gd name="T69" fmla="*/ 2147483647 h 737"/>
                <a:gd name="T70" fmla="*/ 2147483647 w 612"/>
                <a:gd name="T71" fmla="*/ 2147483647 h 737"/>
                <a:gd name="T72" fmla="*/ 2147483647 w 612"/>
                <a:gd name="T73" fmla="*/ 2147483647 h 737"/>
                <a:gd name="T74" fmla="*/ 2147483647 w 612"/>
                <a:gd name="T75" fmla="*/ 2147483647 h 737"/>
                <a:gd name="T76" fmla="*/ 2147483647 w 612"/>
                <a:gd name="T77" fmla="*/ 2147483647 h 737"/>
                <a:gd name="T78" fmla="*/ 2147483647 w 612"/>
                <a:gd name="T79" fmla="*/ 2147483647 h 737"/>
                <a:gd name="T80" fmla="*/ 2147483647 w 612"/>
                <a:gd name="T81" fmla="*/ 2147483647 h 737"/>
                <a:gd name="T82" fmla="*/ 2147483647 w 612"/>
                <a:gd name="T83" fmla="*/ 2147483647 h 737"/>
                <a:gd name="T84" fmla="*/ 2147483647 w 612"/>
                <a:gd name="T85" fmla="*/ 2147483647 h 737"/>
                <a:gd name="T86" fmla="*/ 2147483647 w 612"/>
                <a:gd name="T87" fmla="*/ 2147483647 h 737"/>
                <a:gd name="T88" fmla="*/ 2147483647 w 612"/>
                <a:gd name="T89" fmla="*/ 2147483647 h 737"/>
                <a:gd name="T90" fmla="*/ 2147483647 w 612"/>
                <a:gd name="T91" fmla="*/ 2147483647 h 737"/>
                <a:gd name="T92" fmla="*/ 2147483647 w 612"/>
                <a:gd name="T93" fmla="*/ 2147483647 h 737"/>
                <a:gd name="T94" fmla="*/ 2147483647 w 612"/>
                <a:gd name="T95" fmla="*/ 2147483647 h 737"/>
                <a:gd name="T96" fmla="*/ 2147483647 w 612"/>
                <a:gd name="T97" fmla="*/ 2147483647 h 737"/>
                <a:gd name="T98" fmla="*/ 2147483647 w 612"/>
                <a:gd name="T99" fmla="*/ 2147483647 h 737"/>
                <a:gd name="T100" fmla="*/ 2147483647 w 612"/>
                <a:gd name="T101" fmla="*/ 2147483647 h 737"/>
                <a:gd name="T102" fmla="*/ 2147483647 w 612"/>
                <a:gd name="T103" fmla="*/ 2147483647 h 737"/>
                <a:gd name="T104" fmla="*/ 2147483647 w 612"/>
                <a:gd name="T105" fmla="*/ 2147483647 h 737"/>
                <a:gd name="T106" fmla="*/ 2147483647 w 612"/>
                <a:gd name="T107" fmla="*/ 2147483647 h 737"/>
                <a:gd name="T108" fmla="*/ 2147483647 w 612"/>
                <a:gd name="T109" fmla="*/ 2147483647 h 737"/>
                <a:gd name="T110" fmla="*/ 2147483647 w 612"/>
                <a:gd name="T111" fmla="*/ 2147483647 h 73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12"/>
                <a:gd name="T169" fmla="*/ 0 h 737"/>
                <a:gd name="T170" fmla="*/ 612 w 612"/>
                <a:gd name="T171" fmla="*/ 737 h 73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12" h="737">
                  <a:moveTo>
                    <a:pt x="63" y="448"/>
                  </a:moveTo>
                  <a:lnTo>
                    <a:pt x="57" y="448"/>
                  </a:lnTo>
                  <a:lnTo>
                    <a:pt x="51" y="448"/>
                  </a:lnTo>
                  <a:lnTo>
                    <a:pt x="46" y="448"/>
                  </a:lnTo>
                  <a:lnTo>
                    <a:pt x="40" y="448"/>
                  </a:lnTo>
                  <a:lnTo>
                    <a:pt x="34" y="448"/>
                  </a:lnTo>
                  <a:lnTo>
                    <a:pt x="29" y="442"/>
                  </a:lnTo>
                  <a:lnTo>
                    <a:pt x="29" y="436"/>
                  </a:lnTo>
                  <a:lnTo>
                    <a:pt x="29" y="431"/>
                  </a:lnTo>
                  <a:lnTo>
                    <a:pt x="17" y="431"/>
                  </a:lnTo>
                  <a:lnTo>
                    <a:pt x="17" y="425"/>
                  </a:lnTo>
                  <a:lnTo>
                    <a:pt x="17" y="419"/>
                  </a:lnTo>
                  <a:lnTo>
                    <a:pt x="12" y="419"/>
                  </a:lnTo>
                  <a:lnTo>
                    <a:pt x="12" y="414"/>
                  </a:ln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0" y="402"/>
                  </a:lnTo>
                  <a:lnTo>
                    <a:pt x="0" y="397"/>
                  </a:lnTo>
                  <a:lnTo>
                    <a:pt x="6" y="397"/>
                  </a:lnTo>
                  <a:lnTo>
                    <a:pt x="6" y="391"/>
                  </a:lnTo>
                  <a:lnTo>
                    <a:pt x="12" y="391"/>
                  </a:lnTo>
                  <a:lnTo>
                    <a:pt x="12" y="385"/>
                  </a:lnTo>
                  <a:lnTo>
                    <a:pt x="17" y="385"/>
                  </a:lnTo>
                  <a:lnTo>
                    <a:pt x="17" y="374"/>
                  </a:lnTo>
                  <a:lnTo>
                    <a:pt x="23" y="374"/>
                  </a:lnTo>
                  <a:lnTo>
                    <a:pt x="29" y="368"/>
                  </a:lnTo>
                  <a:lnTo>
                    <a:pt x="34" y="368"/>
                  </a:lnTo>
                  <a:lnTo>
                    <a:pt x="34" y="363"/>
                  </a:lnTo>
                  <a:lnTo>
                    <a:pt x="40" y="363"/>
                  </a:lnTo>
                  <a:lnTo>
                    <a:pt x="46" y="357"/>
                  </a:lnTo>
                  <a:lnTo>
                    <a:pt x="51" y="357"/>
                  </a:lnTo>
                  <a:lnTo>
                    <a:pt x="57" y="357"/>
                  </a:lnTo>
                  <a:lnTo>
                    <a:pt x="68" y="357"/>
                  </a:lnTo>
                  <a:lnTo>
                    <a:pt x="74" y="357"/>
                  </a:lnTo>
                  <a:lnTo>
                    <a:pt x="85" y="351"/>
                  </a:lnTo>
                  <a:lnTo>
                    <a:pt x="85" y="346"/>
                  </a:lnTo>
                  <a:lnTo>
                    <a:pt x="85" y="340"/>
                  </a:lnTo>
                  <a:lnTo>
                    <a:pt x="85" y="334"/>
                  </a:lnTo>
                  <a:lnTo>
                    <a:pt x="85" y="329"/>
                  </a:lnTo>
                  <a:lnTo>
                    <a:pt x="80" y="323"/>
                  </a:lnTo>
                  <a:lnTo>
                    <a:pt x="74" y="317"/>
                  </a:lnTo>
                  <a:lnTo>
                    <a:pt x="74" y="312"/>
                  </a:lnTo>
                  <a:lnTo>
                    <a:pt x="74" y="300"/>
                  </a:lnTo>
                  <a:lnTo>
                    <a:pt x="74" y="295"/>
                  </a:lnTo>
                  <a:lnTo>
                    <a:pt x="74" y="289"/>
                  </a:lnTo>
                  <a:lnTo>
                    <a:pt x="74" y="283"/>
                  </a:lnTo>
                  <a:lnTo>
                    <a:pt x="74" y="278"/>
                  </a:lnTo>
                  <a:lnTo>
                    <a:pt x="68" y="272"/>
                  </a:lnTo>
                  <a:lnTo>
                    <a:pt x="68" y="266"/>
                  </a:lnTo>
                  <a:lnTo>
                    <a:pt x="63" y="266"/>
                  </a:lnTo>
                  <a:lnTo>
                    <a:pt x="63" y="261"/>
                  </a:lnTo>
                  <a:lnTo>
                    <a:pt x="63" y="255"/>
                  </a:lnTo>
                  <a:lnTo>
                    <a:pt x="57" y="255"/>
                  </a:lnTo>
                  <a:lnTo>
                    <a:pt x="57" y="249"/>
                  </a:lnTo>
                  <a:lnTo>
                    <a:pt x="57" y="244"/>
                  </a:lnTo>
                  <a:lnTo>
                    <a:pt x="57" y="238"/>
                  </a:lnTo>
                  <a:lnTo>
                    <a:pt x="57" y="227"/>
                  </a:lnTo>
                  <a:lnTo>
                    <a:pt x="57" y="221"/>
                  </a:lnTo>
                  <a:lnTo>
                    <a:pt x="63" y="210"/>
                  </a:lnTo>
                  <a:lnTo>
                    <a:pt x="63" y="204"/>
                  </a:lnTo>
                  <a:lnTo>
                    <a:pt x="63" y="198"/>
                  </a:lnTo>
                  <a:lnTo>
                    <a:pt x="57" y="187"/>
                  </a:lnTo>
                  <a:lnTo>
                    <a:pt x="57" y="181"/>
                  </a:lnTo>
                  <a:lnTo>
                    <a:pt x="57" y="176"/>
                  </a:lnTo>
                  <a:lnTo>
                    <a:pt x="57" y="164"/>
                  </a:lnTo>
                  <a:lnTo>
                    <a:pt x="51" y="159"/>
                  </a:lnTo>
                  <a:lnTo>
                    <a:pt x="51" y="153"/>
                  </a:lnTo>
                  <a:lnTo>
                    <a:pt x="51" y="147"/>
                  </a:lnTo>
                  <a:lnTo>
                    <a:pt x="51" y="142"/>
                  </a:lnTo>
                  <a:lnTo>
                    <a:pt x="51" y="136"/>
                  </a:lnTo>
                  <a:lnTo>
                    <a:pt x="57" y="125"/>
                  </a:lnTo>
                  <a:lnTo>
                    <a:pt x="63" y="119"/>
                  </a:lnTo>
                  <a:lnTo>
                    <a:pt x="68" y="113"/>
                  </a:lnTo>
                  <a:lnTo>
                    <a:pt x="74" y="113"/>
                  </a:lnTo>
                  <a:lnTo>
                    <a:pt x="74" y="108"/>
                  </a:lnTo>
                  <a:lnTo>
                    <a:pt x="80" y="108"/>
                  </a:lnTo>
                  <a:lnTo>
                    <a:pt x="91" y="102"/>
                  </a:lnTo>
                  <a:lnTo>
                    <a:pt x="91" y="96"/>
                  </a:lnTo>
                  <a:lnTo>
                    <a:pt x="97" y="96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19" y="91"/>
                  </a:lnTo>
                  <a:lnTo>
                    <a:pt x="125" y="91"/>
                  </a:lnTo>
                  <a:lnTo>
                    <a:pt x="131" y="91"/>
                  </a:lnTo>
                  <a:lnTo>
                    <a:pt x="142" y="91"/>
                  </a:lnTo>
                  <a:lnTo>
                    <a:pt x="142" y="85"/>
                  </a:lnTo>
                  <a:lnTo>
                    <a:pt x="148" y="85"/>
                  </a:lnTo>
                  <a:lnTo>
                    <a:pt x="153" y="79"/>
                  </a:lnTo>
                  <a:lnTo>
                    <a:pt x="159" y="79"/>
                  </a:lnTo>
                  <a:lnTo>
                    <a:pt x="165" y="74"/>
                  </a:lnTo>
                  <a:lnTo>
                    <a:pt x="170" y="68"/>
                  </a:lnTo>
                  <a:lnTo>
                    <a:pt x="170" y="62"/>
                  </a:lnTo>
                  <a:lnTo>
                    <a:pt x="176" y="62"/>
                  </a:lnTo>
                  <a:lnTo>
                    <a:pt x="176" y="57"/>
                  </a:lnTo>
                  <a:lnTo>
                    <a:pt x="176" y="45"/>
                  </a:lnTo>
                  <a:lnTo>
                    <a:pt x="182" y="40"/>
                  </a:lnTo>
                  <a:lnTo>
                    <a:pt x="187" y="40"/>
                  </a:lnTo>
                  <a:lnTo>
                    <a:pt x="187" y="34"/>
                  </a:lnTo>
                  <a:lnTo>
                    <a:pt x="187" y="28"/>
                  </a:lnTo>
                  <a:lnTo>
                    <a:pt x="193" y="23"/>
                  </a:lnTo>
                  <a:lnTo>
                    <a:pt x="199" y="23"/>
                  </a:lnTo>
                  <a:lnTo>
                    <a:pt x="204" y="17"/>
                  </a:lnTo>
                  <a:lnTo>
                    <a:pt x="204" y="11"/>
                  </a:lnTo>
                  <a:lnTo>
                    <a:pt x="216" y="6"/>
                  </a:lnTo>
                  <a:lnTo>
                    <a:pt x="216" y="11"/>
                  </a:lnTo>
                  <a:lnTo>
                    <a:pt x="221" y="11"/>
                  </a:lnTo>
                  <a:lnTo>
                    <a:pt x="221" y="17"/>
                  </a:lnTo>
                  <a:lnTo>
                    <a:pt x="227" y="23"/>
                  </a:lnTo>
                  <a:lnTo>
                    <a:pt x="233" y="23"/>
                  </a:lnTo>
                  <a:lnTo>
                    <a:pt x="233" y="28"/>
                  </a:lnTo>
                  <a:lnTo>
                    <a:pt x="238" y="34"/>
                  </a:lnTo>
                  <a:lnTo>
                    <a:pt x="244" y="34"/>
                  </a:lnTo>
                  <a:lnTo>
                    <a:pt x="244" y="40"/>
                  </a:lnTo>
                  <a:lnTo>
                    <a:pt x="244" y="45"/>
                  </a:lnTo>
                  <a:lnTo>
                    <a:pt x="244" y="51"/>
                  </a:lnTo>
                  <a:lnTo>
                    <a:pt x="244" y="62"/>
                  </a:lnTo>
                  <a:lnTo>
                    <a:pt x="250" y="62"/>
                  </a:lnTo>
                  <a:lnTo>
                    <a:pt x="250" y="68"/>
                  </a:lnTo>
                  <a:lnTo>
                    <a:pt x="255" y="62"/>
                  </a:lnTo>
                  <a:lnTo>
                    <a:pt x="255" y="57"/>
                  </a:lnTo>
                  <a:lnTo>
                    <a:pt x="255" y="51"/>
                  </a:lnTo>
                  <a:lnTo>
                    <a:pt x="255" y="45"/>
                  </a:lnTo>
                  <a:lnTo>
                    <a:pt x="261" y="45"/>
                  </a:lnTo>
                  <a:lnTo>
                    <a:pt x="261" y="40"/>
                  </a:lnTo>
                  <a:lnTo>
                    <a:pt x="261" y="34"/>
                  </a:lnTo>
                  <a:lnTo>
                    <a:pt x="267" y="34"/>
                  </a:lnTo>
                  <a:lnTo>
                    <a:pt x="267" y="28"/>
                  </a:lnTo>
                  <a:lnTo>
                    <a:pt x="267" y="23"/>
                  </a:lnTo>
                  <a:lnTo>
                    <a:pt x="272" y="23"/>
                  </a:lnTo>
                  <a:lnTo>
                    <a:pt x="272" y="17"/>
                  </a:lnTo>
                  <a:lnTo>
                    <a:pt x="278" y="11"/>
                  </a:lnTo>
                  <a:lnTo>
                    <a:pt x="284" y="11"/>
                  </a:lnTo>
                  <a:lnTo>
                    <a:pt x="289" y="11"/>
                  </a:lnTo>
                  <a:lnTo>
                    <a:pt x="295" y="11"/>
                  </a:lnTo>
                  <a:lnTo>
                    <a:pt x="306" y="11"/>
                  </a:lnTo>
                  <a:lnTo>
                    <a:pt x="306" y="6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18" y="0"/>
                  </a:lnTo>
                  <a:lnTo>
                    <a:pt x="323" y="0"/>
                  </a:lnTo>
                  <a:lnTo>
                    <a:pt x="329" y="0"/>
                  </a:lnTo>
                  <a:lnTo>
                    <a:pt x="329" y="6"/>
                  </a:lnTo>
                  <a:lnTo>
                    <a:pt x="335" y="6"/>
                  </a:lnTo>
                  <a:lnTo>
                    <a:pt x="335" y="11"/>
                  </a:lnTo>
                  <a:lnTo>
                    <a:pt x="340" y="11"/>
                  </a:lnTo>
                  <a:lnTo>
                    <a:pt x="346" y="11"/>
                  </a:lnTo>
                  <a:lnTo>
                    <a:pt x="352" y="11"/>
                  </a:lnTo>
                  <a:lnTo>
                    <a:pt x="357" y="11"/>
                  </a:lnTo>
                  <a:lnTo>
                    <a:pt x="363" y="11"/>
                  </a:lnTo>
                  <a:lnTo>
                    <a:pt x="369" y="11"/>
                  </a:lnTo>
                  <a:lnTo>
                    <a:pt x="374" y="11"/>
                  </a:lnTo>
                  <a:lnTo>
                    <a:pt x="374" y="17"/>
                  </a:lnTo>
                  <a:lnTo>
                    <a:pt x="374" y="23"/>
                  </a:lnTo>
                  <a:lnTo>
                    <a:pt x="374" y="34"/>
                  </a:lnTo>
                  <a:lnTo>
                    <a:pt x="369" y="34"/>
                  </a:lnTo>
                  <a:lnTo>
                    <a:pt x="363" y="40"/>
                  </a:lnTo>
                  <a:lnTo>
                    <a:pt x="363" y="45"/>
                  </a:lnTo>
                  <a:lnTo>
                    <a:pt x="363" y="51"/>
                  </a:lnTo>
                  <a:lnTo>
                    <a:pt x="369" y="51"/>
                  </a:lnTo>
                  <a:lnTo>
                    <a:pt x="369" y="57"/>
                  </a:lnTo>
                  <a:lnTo>
                    <a:pt x="374" y="62"/>
                  </a:lnTo>
                  <a:lnTo>
                    <a:pt x="386" y="62"/>
                  </a:lnTo>
                  <a:lnTo>
                    <a:pt x="391" y="62"/>
                  </a:lnTo>
                  <a:lnTo>
                    <a:pt x="397" y="62"/>
                  </a:lnTo>
                  <a:lnTo>
                    <a:pt x="397" y="68"/>
                  </a:lnTo>
                  <a:lnTo>
                    <a:pt x="403" y="68"/>
                  </a:lnTo>
                  <a:lnTo>
                    <a:pt x="403" y="74"/>
                  </a:lnTo>
                  <a:lnTo>
                    <a:pt x="403" y="79"/>
                  </a:lnTo>
                  <a:lnTo>
                    <a:pt x="403" y="85"/>
                  </a:lnTo>
                  <a:lnTo>
                    <a:pt x="397" y="91"/>
                  </a:lnTo>
                  <a:lnTo>
                    <a:pt x="397" y="96"/>
                  </a:lnTo>
                  <a:lnTo>
                    <a:pt x="397" y="108"/>
                  </a:lnTo>
                  <a:lnTo>
                    <a:pt x="403" y="108"/>
                  </a:lnTo>
                  <a:lnTo>
                    <a:pt x="408" y="113"/>
                  </a:lnTo>
                  <a:lnTo>
                    <a:pt x="414" y="113"/>
                  </a:lnTo>
                  <a:lnTo>
                    <a:pt x="425" y="108"/>
                  </a:lnTo>
                  <a:lnTo>
                    <a:pt x="431" y="108"/>
                  </a:lnTo>
                  <a:lnTo>
                    <a:pt x="442" y="108"/>
                  </a:lnTo>
                  <a:lnTo>
                    <a:pt x="448" y="108"/>
                  </a:lnTo>
                  <a:lnTo>
                    <a:pt x="448" y="113"/>
                  </a:lnTo>
                  <a:lnTo>
                    <a:pt x="454" y="113"/>
                  </a:lnTo>
                  <a:lnTo>
                    <a:pt x="454" y="119"/>
                  </a:lnTo>
                  <a:lnTo>
                    <a:pt x="454" y="125"/>
                  </a:lnTo>
                  <a:lnTo>
                    <a:pt x="459" y="125"/>
                  </a:lnTo>
                  <a:lnTo>
                    <a:pt x="459" y="136"/>
                  </a:lnTo>
                  <a:lnTo>
                    <a:pt x="459" y="142"/>
                  </a:lnTo>
                  <a:lnTo>
                    <a:pt x="465" y="142"/>
                  </a:lnTo>
                  <a:lnTo>
                    <a:pt x="465" y="147"/>
                  </a:lnTo>
                  <a:lnTo>
                    <a:pt x="471" y="147"/>
                  </a:lnTo>
                  <a:lnTo>
                    <a:pt x="471" y="153"/>
                  </a:lnTo>
                  <a:lnTo>
                    <a:pt x="465" y="153"/>
                  </a:lnTo>
                  <a:lnTo>
                    <a:pt x="465" y="159"/>
                  </a:lnTo>
                  <a:lnTo>
                    <a:pt x="465" y="164"/>
                  </a:lnTo>
                  <a:lnTo>
                    <a:pt x="459" y="164"/>
                  </a:lnTo>
                  <a:lnTo>
                    <a:pt x="459" y="170"/>
                  </a:lnTo>
                  <a:lnTo>
                    <a:pt x="459" y="176"/>
                  </a:lnTo>
                  <a:lnTo>
                    <a:pt x="454" y="176"/>
                  </a:lnTo>
                  <a:lnTo>
                    <a:pt x="454" y="181"/>
                  </a:lnTo>
                  <a:lnTo>
                    <a:pt x="459" y="181"/>
                  </a:lnTo>
                  <a:lnTo>
                    <a:pt x="459" y="187"/>
                  </a:lnTo>
                  <a:lnTo>
                    <a:pt x="465" y="187"/>
                  </a:lnTo>
                  <a:lnTo>
                    <a:pt x="476" y="193"/>
                  </a:lnTo>
                  <a:lnTo>
                    <a:pt x="482" y="193"/>
                  </a:lnTo>
                  <a:lnTo>
                    <a:pt x="488" y="187"/>
                  </a:lnTo>
                  <a:lnTo>
                    <a:pt x="493" y="187"/>
                  </a:lnTo>
                  <a:lnTo>
                    <a:pt x="505" y="181"/>
                  </a:lnTo>
                  <a:lnTo>
                    <a:pt x="510" y="187"/>
                  </a:lnTo>
                  <a:lnTo>
                    <a:pt x="510" y="193"/>
                  </a:lnTo>
                  <a:lnTo>
                    <a:pt x="510" y="198"/>
                  </a:lnTo>
                  <a:lnTo>
                    <a:pt x="510" y="204"/>
                  </a:lnTo>
                  <a:lnTo>
                    <a:pt x="516" y="204"/>
                  </a:lnTo>
                  <a:lnTo>
                    <a:pt x="522" y="210"/>
                  </a:lnTo>
                  <a:lnTo>
                    <a:pt x="527" y="210"/>
                  </a:lnTo>
                  <a:lnTo>
                    <a:pt x="533" y="210"/>
                  </a:lnTo>
                  <a:lnTo>
                    <a:pt x="533" y="204"/>
                  </a:lnTo>
                  <a:lnTo>
                    <a:pt x="533" y="198"/>
                  </a:lnTo>
                  <a:lnTo>
                    <a:pt x="533" y="193"/>
                  </a:lnTo>
                  <a:lnTo>
                    <a:pt x="539" y="193"/>
                  </a:lnTo>
                  <a:lnTo>
                    <a:pt x="539" y="187"/>
                  </a:lnTo>
                  <a:lnTo>
                    <a:pt x="544" y="181"/>
                  </a:lnTo>
                  <a:lnTo>
                    <a:pt x="544" y="187"/>
                  </a:lnTo>
                  <a:lnTo>
                    <a:pt x="550" y="187"/>
                  </a:lnTo>
                  <a:lnTo>
                    <a:pt x="556" y="193"/>
                  </a:lnTo>
                  <a:lnTo>
                    <a:pt x="556" y="204"/>
                  </a:lnTo>
                  <a:lnTo>
                    <a:pt x="556" y="215"/>
                  </a:lnTo>
                  <a:lnTo>
                    <a:pt x="561" y="221"/>
                  </a:lnTo>
                  <a:lnTo>
                    <a:pt x="561" y="227"/>
                  </a:lnTo>
                  <a:lnTo>
                    <a:pt x="561" y="232"/>
                  </a:lnTo>
                  <a:lnTo>
                    <a:pt x="561" y="244"/>
                  </a:lnTo>
                  <a:lnTo>
                    <a:pt x="561" y="261"/>
                  </a:lnTo>
                  <a:lnTo>
                    <a:pt x="556" y="266"/>
                  </a:lnTo>
                  <a:lnTo>
                    <a:pt x="556" y="272"/>
                  </a:lnTo>
                  <a:lnTo>
                    <a:pt x="550" y="272"/>
                  </a:lnTo>
                  <a:lnTo>
                    <a:pt x="544" y="272"/>
                  </a:lnTo>
                  <a:lnTo>
                    <a:pt x="544" y="278"/>
                  </a:lnTo>
                  <a:lnTo>
                    <a:pt x="539" y="278"/>
                  </a:lnTo>
                  <a:lnTo>
                    <a:pt x="539" y="283"/>
                  </a:lnTo>
                  <a:lnTo>
                    <a:pt x="539" y="289"/>
                  </a:lnTo>
                  <a:lnTo>
                    <a:pt x="539" y="300"/>
                  </a:lnTo>
                  <a:lnTo>
                    <a:pt x="539" y="306"/>
                  </a:lnTo>
                  <a:lnTo>
                    <a:pt x="539" y="312"/>
                  </a:lnTo>
                  <a:lnTo>
                    <a:pt x="539" y="317"/>
                  </a:lnTo>
                  <a:lnTo>
                    <a:pt x="544" y="317"/>
                  </a:lnTo>
                  <a:lnTo>
                    <a:pt x="556" y="317"/>
                  </a:lnTo>
                  <a:lnTo>
                    <a:pt x="567" y="312"/>
                  </a:lnTo>
                  <a:lnTo>
                    <a:pt x="573" y="312"/>
                  </a:lnTo>
                  <a:lnTo>
                    <a:pt x="573" y="317"/>
                  </a:lnTo>
                  <a:lnTo>
                    <a:pt x="573" y="323"/>
                  </a:lnTo>
                  <a:lnTo>
                    <a:pt x="567" y="323"/>
                  </a:lnTo>
                  <a:lnTo>
                    <a:pt x="567" y="329"/>
                  </a:lnTo>
                  <a:lnTo>
                    <a:pt x="567" y="334"/>
                  </a:lnTo>
                  <a:lnTo>
                    <a:pt x="567" y="340"/>
                  </a:lnTo>
                  <a:lnTo>
                    <a:pt x="573" y="346"/>
                  </a:lnTo>
                  <a:lnTo>
                    <a:pt x="578" y="346"/>
                  </a:lnTo>
                  <a:lnTo>
                    <a:pt x="584" y="351"/>
                  </a:lnTo>
                  <a:lnTo>
                    <a:pt x="590" y="357"/>
                  </a:lnTo>
                  <a:lnTo>
                    <a:pt x="595" y="357"/>
                  </a:lnTo>
                  <a:lnTo>
                    <a:pt x="595" y="363"/>
                  </a:lnTo>
                  <a:lnTo>
                    <a:pt x="595" y="368"/>
                  </a:lnTo>
                  <a:lnTo>
                    <a:pt x="601" y="368"/>
                  </a:lnTo>
                  <a:lnTo>
                    <a:pt x="607" y="368"/>
                  </a:lnTo>
                  <a:lnTo>
                    <a:pt x="612" y="368"/>
                  </a:lnTo>
                  <a:lnTo>
                    <a:pt x="612" y="374"/>
                  </a:lnTo>
                  <a:lnTo>
                    <a:pt x="612" y="380"/>
                  </a:lnTo>
                  <a:lnTo>
                    <a:pt x="607" y="385"/>
                  </a:lnTo>
                  <a:lnTo>
                    <a:pt x="601" y="391"/>
                  </a:lnTo>
                  <a:lnTo>
                    <a:pt x="601" y="397"/>
                  </a:lnTo>
                  <a:lnTo>
                    <a:pt x="595" y="397"/>
                  </a:lnTo>
                  <a:lnTo>
                    <a:pt x="590" y="397"/>
                  </a:lnTo>
                  <a:lnTo>
                    <a:pt x="584" y="397"/>
                  </a:lnTo>
                  <a:lnTo>
                    <a:pt x="578" y="402"/>
                  </a:lnTo>
                  <a:lnTo>
                    <a:pt x="573" y="414"/>
                  </a:lnTo>
                  <a:lnTo>
                    <a:pt x="573" y="419"/>
                  </a:lnTo>
                  <a:lnTo>
                    <a:pt x="567" y="425"/>
                  </a:lnTo>
                  <a:lnTo>
                    <a:pt x="573" y="431"/>
                  </a:lnTo>
                  <a:lnTo>
                    <a:pt x="573" y="436"/>
                  </a:lnTo>
                  <a:lnTo>
                    <a:pt x="573" y="442"/>
                  </a:lnTo>
                  <a:lnTo>
                    <a:pt x="567" y="448"/>
                  </a:lnTo>
                  <a:lnTo>
                    <a:pt x="556" y="448"/>
                  </a:lnTo>
                  <a:lnTo>
                    <a:pt x="556" y="453"/>
                  </a:lnTo>
                  <a:lnTo>
                    <a:pt x="550" y="453"/>
                  </a:lnTo>
                  <a:lnTo>
                    <a:pt x="544" y="453"/>
                  </a:lnTo>
                  <a:lnTo>
                    <a:pt x="544" y="459"/>
                  </a:lnTo>
                  <a:lnTo>
                    <a:pt x="539" y="459"/>
                  </a:lnTo>
                  <a:lnTo>
                    <a:pt x="533" y="459"/>
                  </a:lnTo>
                  <a:lnTo>
                    <a:pt x="527" y="459"/>
                  </a:lnTo>
                  <a:lnTo>
                    <a:pt x="522" y="459"/>
                  </a:lnTo>
                  <a:lnTo>
                    <a:pt x="516" y="459"/>
                  </a:lnTo>
                  <a:lnTo>
                    <a:pt x="510" y="459"/>
                  </a:lnTo>
                  <a:lnTo>
                    <a:pt x="499" y="465"/>
                  </a:lnTo>
                  <a:lnTo>
                    <a:pt x="499" y="470"/>
                  </a:lnTo>
                  <a:lnTo>
                    <a:pt x="493" y="470"/>
                  </a:lnTo>
                  <a:lnTo>
                    <a:pt x="488" y="470"/>
                  </a:lnTo>
                  <a:lnTo>
                    <a:pt x="488" y="476"/>
                  </a:lnTo>
                  <a:lnTo>
                    <a:pt x="488" y="482"/>
                  </a:lnTo>
                  <a:lnTo>
                    <a:pt x="482" y="482"/>
                  </a:lnTo>
                  <a:lnTo>
                    <a:pt x="482" y="487"/>
                  </a:lnTo>
                  <a:lnTo>
                    <a:pt x="476" y="487"/>
                  </a:lnTo>
                  <a:lnTo>
                    <a:pt x="465" y="499"/>
                  </a:lnTo>
                  <a:lnTo>
                    <a:pt x="459" y="504"/>
                  </a:lnTo>
                  <a:lnTo>
                    <a:pt x="459" y="510"/>
                  </a:lnTo>
                  <a:lnTo>
                    <a:pt x="454" y="510"/>
                  </a:lnTo>
                  <a:lnTo>
                    <a:pt x="454" y="516"/>
                  </a:lnTo>
                  <a:lnTo>
                    <a:pt x="454" y="521"/>
                  </a:lnTo>
                  <a:lnTo>
                    <a:pt x="454" y="527"/>
                  </a:lnTo>
                  <a:lnTo>
                    <a:pt x="442" y="527"/>
                  </a:lnTo>
                  <a:lnTo>
                    <a:pt x="442" y="533"/>
                  </a:lnTo>
                  <a:lnTo>
                    <a:pt x="437" y="538"/>
                  </a:lnTo>
                  <a:lnTo>
                    <a:pt x="431" y="538"/>
                  </a:lnTo>
                  <a:lnTo>
                    <a:pt x="425" y="538"/>
                  </a:lnTo>
                  <a:lnTo>
                    <a:pt x="420" y="538"/>
                  </a:lnTo>
                  <a:lnTo>
                    <a:pt x="414" y="538"/>
                  </a:lnTo>
                  <a:lnTo>
                    <a:pt x="414" y="544"/>
                  </a:lnTo>
                  <a:lnTo>
                    <a:pt x="408" y="544"/>
                  </a:lnTo>
                  <a:lnTo>
                    <a:pt x="408" y="550"/>
                  </a:lnTo>
                  <a:lnTo>
                    <a:pt x="403" y="550"/>
                  </a:lnTo>
                  <a:lnTo>
                    <a:pt x="403" y="555"/>
                  </a:lnTo>
                  <a:lnTo>
                    <a:pt x="403" y="561"/>
                  </a:lnTo>
                  <a:lnTo>
                    <a:pt x="403" y="567"/>
                  </a:lnTo>
                  <a:lnTo>
                    <a:pt x="403" y="578"/>
                  </a:lnTo>
                  <a:lnTo>
                    <a:pt x="403" y="584"/>
                  </a:lnTo>
                  <a:lnTo>
                    <a:pt x="397" y="595"/>
                  </a:lnTo>
                  <a:lnTo>
                    <a:pt x="397" y="612"/>
                  </a:lnTo>
                  <a:lnTo>
                    <a:pt x="397" y="618"/>
                  </a:lnTo>
                  <a:lnTo>
                    <a:pt x="403" y="623"/>
                  </a:lnTo>
                  <a:lnTo>
                    <a:pt x="403" y="629"/>
                  </a:lnTo>
                  <a:lnTo>
                    <a:pt x="403" y="635"/>
                  </a:lnTo>
                  <a:lnTo>
                    <a:pt x="408" y="640"/>
                  </a:lnTo>
                  <a:lnTo>
                    <a:pt x="414" y="646"/>
                  </a:lnTo>
                  <a:lnTo>
                    <a:pt x="414" y="652"/>
                  </a:lnTo>
                  <a:lnTo>
                    <a:pt x="420" y="652"/>
                  </a:lnTo>
                  <a:lnTo>
                    <a:pt x="425" y="657"/>
                  </a:lnTo>
                  <a:lnTo>
                    <a:pt x="425" y="663"/>
                  </a:lnTo>
                  <a:lnTo>
                    <a:pt x="425" y="674"/>
                  </a:lnTo>
                  <a:lnTo>
                    <a:pt x="425" y="680"/>
                  </a:lnTo>
                  <a:lnTo>
                    <a:pt x="425" y="686"/>
                  </a:lnTo>
                  <a:lnTo>
                    <a:pt x="425" y="691"/>
                  </a:lnTo>
                  <a:lnTo>
                    <a:pt x="425" y="697"/>
                  </a:lnTo>
                  <a:lnTo>
                    <a:pt x="420" y="703"/>
                  </a:lnTo>
                  <a:lnTo>
                    <a:pt x="414" y="703"/>
                  </a:lnTo>
                  <a:lnTo>
                    <a:pt x="414" y="708"/>
                  </a:lnTo>
                  <a:lnTo>
                    <a:pt x="408" y="714"/>
                  </a:lnTo>
                  <a:lnTo>
                    <a:pt x="403" y="720"/>
                  </a:lnTo>
                  <a:lnTo>
                    <a:pt x="403" y="725"/>
                  </a:lnTo>
                  <a:lnTo>
                    <a:pt x="403" y="731"/>
                  </a:lnTo>
                  <a:lnTo>
                    <a:pt x="397" y="731"/>
                  </a:lnTo>
                  <a:lnTo>
                    <a:pt x="397" y="737"/>
                  </a:lnTo>
                  <a:lnTo>
                    <a:pt x="391" y="731"/>
                  </a:lnTo>
                  <a:lnTo>
                    <a:pt x="386" y="731"/>
                  </a:lnTo>
                  <a:lnTo>
                    <a:pt x="386" y="737"/>
                  </a:lnTo>
                  <a:lnTo>
                    <a:pt x="380" y="737"/>
                  </a:lnTo>
                  <a:lnTo>
                    <a:pt x="374" y="737"/>
                  </a:lnTo>
                  <a:lnTo>
                    <a:pt x="369" y="731"/>
                  </a:lnTo>
                  <a:lnTo>
                    <a:pt x="363" y="731"/>
                  </a:lnTo>
                  <a:lnTo>
                    <a:pt x="357" y="725"/>
                  </a:lnTo>
                  <a:lnTo>
                    <a:pt x="357" y="720"/>
                  </a:lnTo>
                  <a:lnTo>
                    <a:pt x="352" y="714"/>
                  </a:lnTo>
                  <a:lnTo>
                    <a:pt x="352" y="708"/>
                  </a:lnTo>
                  <a:lnTo>
                    <a:pt x="346" y="708"/>
                  </a:lnTo>
                  <a:lnTo>
                    <a:pt x="346" y="703"/>
                  </a:lnTo>
                  <a:lnTo>
                    <a:pt x="340" y="703"/>
                  </a:lnTo>
                  <a:lnTo>
                    <a:pt x="329" y="703"/>
                  </a:lnTo>
                  <a:lnTo>
                    <a:pt x="323" y="697"/>
                  </a:lnTo>
                  <a:lnTo>
                    <a:pt x="318" y="697"/>
                  </a:lnTo>
                  <a:lnTo>
                    <a:pt x="312" y="697"/>
                  </a:lnTo>
                  <a:lnTo>
                    <a:pt x="312" y="691"/>
                  </a:lnTo>
                  <a:lnTo>
                    <a:pt x="312" y="686"/>
                  </a:lnTo>
                  <a:lnTo>
                    <a:pt x="318" y="680"/>
                  </a:lnTo>
                  <a:lnTo>
                    <a:pt x="323" y="680"/>
                  </a:lnTo>
                  <a:lnTo>
                    <a:pt x="329" y="680"/>
                  </a:lnTo>
                  <a:lnTo>
                    <a:pt x="335" y="680"/>
                  </a:lnTo>
                  <a:lnTo>
                    <a:pt x="335" y="674"/>
                  </a:lnTo>
                  <a:lnTo>
                    <a:pt x="335" y="669"/>
                  </a:lnTo>
                  <a:lnTo>
                    <a:pt x="335" y="663"/>
                  </a:lnTo>
                  <a:lnTo>
                    <a:pt x="329" y="652"/>
                  </a:lnTo>
                  <a:lnTo>
                    <a:pt x="329" y="635"/>
                  </a:lnTo>
                  <a:lnTo>
                    <a:pt x="329" y="623"/>
                  </a:lnTo>
                  <a:lnTo>
                    <a:pt x="329" y="618"/>
                  </a:lnTo>
                  <a:lnTo>
                    <a:pt x="329" y="612"/>
                  </a:lnTo>
                  <a:lnTo>
                    <a:pt x="329" y="606"/>
                  </a:lnTo>
                  <a:lnTo>
                    <a:pt x="329" y="584"/>
                  </a:lnTo>
                  <a:lnTo>
                    <a:pt x="335" y="584"/>
                  </a:lnTo>
                  <a:lnTo>
                    <a:pt x="335" y="578"/>
                  </a:lnTo>
                  <a:lnTo>
                    <a:pt x="335" y="572"/>
                  </a:lnTo>
                  <a:lnTo>
                    <a:pt x="335" y="567"/>
                  </a:lnTo>
                  <a:lnTo>
                    <a:pt x="335" y="561"/>
                  </a:lnTo>
                  <a:lnTo>
                    <a:pt x="329" y="561"/>
                  </a:lnTo>
                  <a:lnTo>
                    <a:pt x="329" y="555"/>
                  </a:lnTo>
                  <a:lnTo>
                    <a:pt x="329" y="550"/>
                  </a:lnTo>
                  <a:lnTo>
                    <a:pt x="323" y="550"/>
                  </a:lnTo>
                  <a:lnTo>
                    <a:pt x="323" y="544"/>
                  </a:lnTo>
                  <a:lnTo>
                    <a:pt x="318" y="544"/>
                  </a:lnTo>
                  <a:lnTo>
                    <a:pt x="318" y="538"/>
                  </a:lnTo>
                  <a:lnTo>
                    <a:pt x="312" y="533"/>
                  </a:lnTo>
                  <a:lnTo>
                    <a:pt x="312" y="527"/>
                  </a:lnTo>
                  <a:lnTo>
                    <a:pt x="306" y="527"/>
                  </a:lnTo>
                  <a:lnTo>
                    <a:pt x="301" y="521"/>
                  </a:lnTo>
                  <a:lnTo>
                    <a:pt x="295" y="516"/>
                  </a:lnTo>
                  <a:lnTo>
                    <a:pt x="289" y="516"/>
                  </a:lnTo>
                  <a:lnTo>
                    <a:pt x="289" y="510"/>
                  </a:lnTo>
                  <a:lnTo>
                    <a:pt x="284" y="510"/>
                  </a:lnTo>
                  <a:lnTo>
                    <a:pt x="278" y="510"/>
                  </a:lnTo>
                  <a:lnTo>
                    <a:pt x="267" y="504"/>
                  </a:lnTo>
                  <a:lnTo>
                    <a:pt x="261" y="499"/>
                  </a:lnTo>
                  <a:lnTo>
                    <a:pt x="255" y="499"/>
                  </a:lnTo>
                  <a:lnTo>
                    <a:pt x="250" y="499"/>
                  </a:lnTo>
                  <a:lnTo>
                    <a:pt x="244" y="499"/>
                  </a:lnTo>
                  <a:lnTo>
                    <a:pt x="238" y="499"/>
                  </a:lnTo>
                  <a:lnTo>
                    <a:pt x="233" y="499"/>
                  </a:lnTo>
                  <a:lnTo>
                    <a:pt x="233" y="493"/>
                  </a:lnTo>
                  <a:lnTo>
                    <a:pt x="227" y="487"/>
                  </a:lnTo>
                  <a:lnTo>
                    <a:pt x="221" y="482"/>
                  </a:lnTo>
                  <a:lnTo>
                    <a:pt x="221" y="470"/>
                  </a:lnTo>
                  <a:lnTo>
                    <a:pt x="216" y="470"/>
                  </a:lnTo>
                  <a:lnTo>
                    <a:pt x="216" y="465"/>
                  </a:lnTo>
                  <a:lnTo>
                    <a:pt x="210" y="465"/>
                  </a:lnTo>
                  <a:lnTo>
                    <a:pt x="204" y="459"/>
                  </a:lnTo>
                  <a:lnTo>
                    <a:pt x="199" y="459"/>
                  </a:lnTo>
                  <a:lnTo>
                    <a:pt x="193" y="453"/>
                  </a:lnTo>
                  <a:lnTo>
                    <a:pt x="187" y="453"/>
                  </a:lnTo>
                  <a:lnTo>
                    <a:pt x="182" y="453"/>
                  </a:lnTo>
                  <a:lnTo>
                    <a:pt x="176" y="453"/>
                  </a:lnTo>
                  <a:lnTo>
                    <a:pt x="176" y="448"/>
                  </a:lnTo>
                  <a:lnTo>
                    <a:pt x="176" y="442"/>
                  </a:lnTo>
                  <a:lnTo>
                    <a:pt x="176" y="436"/>
                  </a:lnTo>
                  <a:lnTo>
                    <a:pt x="170" y="436"/>
                  </a:lnTo>
                  <a:lnTo>
                    <a:pt x="170" y="431"/>
                  </a:lnTo>
                  <a:lnTo>
                    <a:pt x="176" y="431"/>
                  </a:lnTo>
                  <a:lnTo>
                    <a:pt x="176" y="425"/>
                  </a:lnTo>
                  <a:lnTo>
                    <a:pt x="176" y="414"/>
                  </a:lnTo>
                  <a:lnTo>
                    <a:pt x="176" y="408"/>
                  </a:lnTo>
                  <a:lnTo>
                    <a:pt x="170" y="397"/>
                  </a:lnTo>
                  <a:lnTo>
                    <a:pt x="165" y="391"/>
                  </a:lnTo>
                  <a:lnTo>
                    <a:pt x="159" y="397"/>
                  </a:lnTo>
                  <a:lnTo>
                    <a:pt x="153" y="397"/>
                  </a:lnTo>
                  <a:lnTo>
                    <a:pt x="148" y="397"/>
                  </a:lnTo>
                  <a:lnTo>
                    <a:pt x="142" y="402"/>
                  </a:lnTo>
                  <a:lnTo>
                    <a:pt x="136" y="402"/>
                  </a:lnTo>
                  <a:lnTo>
                    <a:pt x="131" y="402"/>
                  </a:lnTo>
                  <a:lnTo>
                    <a:pt x="125" y="402"/>
                  </a:lnTo>
                  <a:lnTo>
                    <a:pt x="119" y="408"/>
                  </a:lnTo>
                  <a:lnTo>
                    <a:pt x="114" y="414"/>
                  </a:lnTo>
                  <a:lnTo>
                    <a:pt x="102" y="414"/>
                  </a:lnTo>
                  <a:lnTo>
                    <a:pt x="91" y="425"/>
                  </a:lnTo>
                  <a:lnTo>
                    <a:pt x="85" y="431"/>
                  </a:lnTo>
                  <a:lnTo>
                    <a:pt x="80" y="436"/>
                  </a:lnTo>
                  <a:lnTo>
                    <a:pt x="74" y="442"/>
                  </a:lnTo>
                  <a:lnTo>
                    <a:pt x="68" y="442"/>
                  </a:lnTo>
                  <a:lnTo>
                    <a:pt x="63" y="448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29" name="Freeform 8"/>
            <p:cNvSpPr>
              <a:spLocks/>
            </p:cNvSpPr>
            <p:nvPr/>
          </p:nvSpPr>
          <p:spPr bwMode="gray">
            <a:xfrm>
              <a:off x="2282568" y="915886"/>
              <a:ext cx="1042916" cy="1059500"/>
            </a:xfrm>
            <a:custGeom>
              <a:avLst/>
              <a:gdLst>
                <a:gd name="T0" fmla="*/ 2147483647 w 743"/>
                <a:gd name="T1" fmla="*/ 2147483647 h 794"/>
                <a:gd name="T2" fmla="*/ 0 w 743"/>
                <a:gd name="T3" fmla="*/ 2147483647 h 794"/>
                <a:gd name="T4" fmla="*/ 2147483647 w 743"/>
                <a:gd name="T5" fmla="*/ 2147483647 h 794"/>
                <a:gd name="T6" fmla="*/ 2147483647 w 743"/>
                <a:gd name="T7" fmla="*/ 2147483647 h 794"/>
                <a:gd name="T8" fmla="*/ 2147483647 w 743"/>
                <a:gd name="T9" fmla="*/ 2147483647 h 794"/>
                <a:gd name="T10" fmla="*/ 2147483647 w 743"/>
                <a:gd name="T11" fmla="*/ 2147483647 h 794"/>
                <a:gd name="T12" fmla="*/ 2147483647 w 743"/>
                <a:gd name="T13" fmla="*/ 2147483647 h 794"/>
                <a:gd name="T14" fmla="*/ 2147483647 w 743"/>
                <a:gd name="T15" fmla="*/ 2147483647 h 794"/>
                <a:gd name="T16" fmla="*/ 2147483647 w 743"/>
                <a:gd name="T17" fmla="*/ 2147483647 h 794"/>
                <a:gd name="T18" fmla="*/ 2147483647 w 743"/>
                <a:gd name="T19" fmla="*/ 2147483647 h 794"/>
                <a:gd name="T20" fmla="*/ 2147483647 w 743"/>
                <a:gd name="T21" fmla="*/ 2147483647 h 794"/>
                <a:gd name="T22" fmla="*/ 2147483647 w 743"/>
                <a:gd name="T23" fmla="*/ 2147483647 h 794"/>
                <a:gd name="T24" fmla="*/ 2147483647 w 743"/>
                <a:gd name="T25" fmla="*/ 2147483647 h 794"/>
                <a:gd name="T26" fmla="*/ 2147483647 w 743"/>
                <a:gd name="T27" fmla="*/ 2147483647 h 794"/>
                <a:gd name="T28" fmla="*/ 2147483647 w 743"/>
                <a:gd name="T29" fmla="*/ 2147483647 h 794"/>
                <a:gd name="T30" fmla="*/ 2147483647 w 743"/>
                <a:gd name="T31" fmla="*/ 2147483647 h 794"/>
                <a:gd name="T32" fmla="*/ 2147483647 w 743"/>
                <a:gd name="T33" fmla="*/ 2147483647 h 794"/>
                <a:gd name="T34" fmla="*/ 2147483647 w 743"/>
                <a:gd name="T35" fmla="*/ 2147483647 h 794"/>
                <a:gd name="T36" fmla="*/ 2147483647 w 743"/>
                <a:gd name="T37" fmla="*/ 2147483647 h 794"/>
                <a:gd name="T38" fmla="*/ 2147483647 w 743"/>
                <a:gd name="T39" fmla="*/ 2147483647 h 794"/>
                <a:gd name="T40" fmla="*/ 2147483647 w 743"/>
                <a:gd name="T41" fmla="*/ 0 h 794"/>
                <a:gd name="T42" fmla="*/ 2147483647 w 743"/>
                <a:gd name="T43" fmla="*/ 2147483647 h 794"/>
                <a:gd name="T44" fmla="*/ 2147483647 w 743"/>
                <a:gd name="T45" fmla="*/ 2147483647 h 794"/>
                <a:gd name="T46" fmla="*/ 2147483647 w 743"/>
                <a:gd name="T47" fmla="*/ 2147483647 h 794"/>
                <a:gd name="T48" fmla="*/ 2147483647 w 743"/>
                <a:gd name="T49" fmla="*/ 2147483647 h 794"/>
                <a:gd name="T50" fmla="*/ 2147483647 w 743"/>
                <a:gd name="T51" fmla="*/ 2147483647 h 794"/>
                <a:gd name="T52" fmla="*/ 2147483647 w 743"/>
                <a:gd name="T53" fmla="*/ 2147483647 h 794"/>
                <a:gd name="T54" fmla="*/ 2147483647 w 743"/>
                <a:gd name="T55" fmla="*/ 2147483647 h 794"/>
                <a:gd name="T56" fmla="*/ 2147483647 w 743"/>
                <a:gd name="T57" fmla="*/ 2147483647 h 794"/>
                <a:gd name="T58" fmla="*/ 2147483647 w 743"/>
                <a:gd name="T59" fmla="*/ 2147483647 h 794"/>
                <a:gd name="T60" fmla="*/ 2147483647 w 743"/>
                <a:gd name="T61" fmla="*/ 2147483647 h 794"/>
                <a:gd name="T62" fmla="*/ 2147483647 w 743"/>
                <a:gd name="T63" fmla="*/ 2147483647 h 794"/>
                <a:gd name="T64" fmla="*/ 2147483647 w 743"/>
                <a:gd name="T65" fmla="*/ 2147483647 h 794"/>
                <a:gd name="T66" fmla="*/ 2147483647 w 743"/>
                <a:gd name="T67" fmla="*/ 2147483647 h 794"/>
                <a:gd name="T68" fmla="*/ 2147483647 w 743"/>
                <a:gd name="T69" fmla="*/ 2147483647 h 794"/>
                <a:gd name="T70" fmla="*/ 2147483647 w 743"/>
                <a:gd name="T71" fmla="*/ 2147483647 h 794"/>
                <a:gd name="T72" fmla="*/ 2147483647 w 743"/>
                <a:gd name="T73" fmla="*/ 2147483647 h 794"/>
                <a:gd name="T74" fmla="*/ 2147483647 w 743"/>
                <a:gd name="T75" fmla="*/ 2147483647 h 794"/>
                <a:gd name="T76" fmla="*/ 2147483647 w 743"/>
                <a:gd name="T77" fmla="*/ 2147483647 h 794"/>
                <a:gd name="T78" fmla="*/ 2147483647 w 743"/>
                <a:gd name="T79" fmla="*/ 2147483647 h 794"/>
                <a:gd name="T80" fmla="*/ 2147483647 w 743"/>
                <a:gd name="T81" fmla="*/ 2147483647 h 794"/>
                <a:gd name="T82" fmla="*/ 2147483647 w 743"/>
                <a:gd name="T83" fmla="*/ 2147483647 h 794"/>
                <a:gd name="T84" fmla="*/ 2147483647 w 743"/>
                <a:gd name="T85" fmla="*/ 2147483647 h 794"/>
                <a:gd name="T86" fmla="*/ 2147483647 w 743"/>
                <a:gd name="T87" fmla="*/ 2147483647 h 794"/>
                <a:gd name="T88" fmla="*/ 2147483647 w 743"/>
                <a:gd name="T89" fmla="*/ 2147483647 h 794"/>
                <a:gd name="T90" fmla="*/ 2147483647 w 743"/>
                <a:gd name="T91" fmla="*/ 2147483647 h 794"/>
                <a:gd name="T92" fmla="*/ 2147483647 w 743"/>
                <a:gd name="T93" fmla="*/ 2147483647 h 794"/>
                <a:gd name="T94" fmla="*/ 2147483647 w 743"/>
                <a:gd name="T95" fmla="*/ 2147483647 h 794"/>
                <a:gd name="T96" fmla="*/ 2147483647 w 743"/>
                <a:gd name="T97" fmla="*/ 2147483647 h 794"/>
                <a:gd name="T98" fmla="*/ 2147483647 w 743"/>
                <a:gd name="T99" fmla="*/ 2147483647 h 794"/>
                <a:gd name="T100" fmla="*/ 2147483647 w 743"/>
                <a:gd name="T101" fmla="*/ 2147483647 h 794"/>
                <a:gd name="T102" fmla="*/ 2147483647 w 743"/>
                <a:gd name="T103" fmla="*/ 2147483647 h 794"/>
                <a:gd name="T104" fmla="*/ 2147483647 w 743"/>
                <a:gd name="T105" fmla="*/ 2147483647 h 794"/>
                <a:gd name="T106" fmla="*/ 2147483647 w 743"/>
                <a:gd name="T107" fmla="*/ 2147483647 h 794"/>
                <a:gd name="T108" fmla="*/ 2147483647 w 743"/>
                <a:gd name="T109" fmla="*/ 2147483647 h 794"/>
                <a:gd name="T110" fmla="*/ 2147483647 w 743"/>
                <a:gd name="T111" fmla="*/ 2147483647 h 794"/>
                <a:gd name="T112" fmla="*/ 2147483647 w 743"/>
                <a:gd name="T113" fmla="*/ 2147483647 h 794"/>
                <a:gd name="T114" fmla="*/ 2147483647 w 743"/>
                <a:gd name="T115" fmla="*/ 2147483647 h 794"/>
                <a:gd name="T116" fmla="*/ 2147483647 w 743"/>
                <a:gd name="T117" fmla="*/ 2147483647 h 794"/>
                <a:gd name="T118" fmla="*/ 2147483647 w 743"/>
                <a:gd name="T119" fmla="*/ 2147483647 h 794"/>
                <a:gd name="T120" fmla="*/ 2147483647 w 743"/>
                <a:gd name="T121" fmla="*/ 2147483647 h 79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43"/>
                <a:gd name="T184" fmla="*/ 0 h 794"/>
                <a:gd name="T185" fmla="*/ 743 w 743"/>
                <a:gd name="T186" fmla="*/ 794 h 79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43" h="794">
                  <a:moveTo>
                    <a:pt x="6" y="703"/>
                  </a:moveTo>
                  <a:lnTo>
                    <a:pt x="6" y="698"/>
                  </a:lnTo>
                  <a:lnTo>
                    <a:pt x="6" y="692"/>
                  </a:lnTo>
                  <a:lnTo>
                    <a:pt x="12" y="686"/>
                  </a:lnTo>
                  <a:lnTo>
                    <a:pt x="12" y="681"/>
                  </a:lnTo>
                  <a:lnTo>
                    <a:pt x="12" y="675"/>
                  </a:lnTo>
                  <a:lnTo>
                    <a:pt x="12" y="669"/>
                  </a:lnTo>
                  <a:lnTo>
                    <a:pt x="17" y="669"/>
                  </a:lnTo>
                  <a:lnTo>
                    <a:pt x="17" y="664"/>
                  </a:lnTo>
                  <a:lnTo>
                    <a:pt x="17" y="658"/>
                  </a:lnTo>
                  <a:lnTo>
                    <a:pt x="12" y="652"/>
                  </a:lnTo>
                  <a:lnTo>
                    <a:pt x="12" y="647"/>
                  </a:lnTo>
                  <a:lnTo>
                    <a:pt x="6" y="641"/>
                  </a:lnTo>
                  <a:lnTo>
                    <a:pt x="0" y="635"/>
                  </a:lnTo>
                  <a:lnTo>
                    <a:pt x="0" y="630"/>
                  </a:lnTo>
                  <a:lnTo>
                    <a:pt x="0" y="624"/>
                  </a:lnTo>
                  <a:lnTo>
                    <a:pt x="0" y="618"/>
                  </a:lnTo>
                  <a:lnTo>
                    <a:pt x="0" y="613"/>
                  </a:lnTo>
                  <a:lnTo>
                    <a:pt x="0" y="607"/>
                  </a:lnTo>
                  <a:lnTo>
                    <a:pt x="0" y="601"/>
                  </a:lnTo>
                  <a:lnTo>
                    <a:pt x="6" y="601"/>
                  </a:lnTo>
                  <a:lnTo>
                    <a:pt x="6" y="596"/>
                  </a:lnTo>
                  <a:lnTo>
                    <a:pt x="6" y="590"/>
                  </a:lnTo>
                  <a:lnTo>
                    <a:pt x="6" y="584"/>
                  </a:lnTo>
                  <a:lnTo>
                    <a:pt x="12" y="584"/>
                  </a:lnTo>
                  <a:lnTo>
                    <a:pt x="12" y="573"/>
                  </a:lnTo>
                  <a:lnTo>
                    <a:pt x="12" y="567"/>
                  </a:lnTo>
                  <a:lnTo>
                    <a:pt x="17" y="567"/>
                  </a:lnTo>
                  <a:lnTo>
                    <a:pt x="17" y="562"/>
                  </a:lnTo>
                  <a:lnTo>
                    <a:pt x="23" y="562"/>
                  </a:lnTo>
                  <a:lnTo>
                    <a:pt x="23" y="556"/>
                  </a:lnTo>
                  <a:lnTo>
                    <a:pt x="34" y="556"/>
                  </a:lnTo>
                  <a:lnTo>
                    <a:pt x="40" y="556"/>
                  </a:lnTo>
                  <a:lnTo>
                    <a:pt x="46" y="556"/>
                  </a:lnTo>
                  <a:lnTo>
                    <a:pt x="51" y="556"/>
                  </a:lnTo>
                  <a:lnTo>
                    <a:pt x="57" y="562"/>
                  </a:lnTo>
                  <a:lnTo>
                    <a:pt x="63" y="562"/>
                  </a:lnTo>
                  <a:lnTo>
                    <a:pt x="68" y="562"/>
                  </a:lnTo>
                  <a:lnTo>
                    <a:pt x="68" y="556"/>
                  </a:lnTo>
                  <a:lnTo>
                    <a:pt x="74" y="556"/>
                  </a:lnTo>
                  <a:lnTo>
                    <a:pt x="80" y="556"/>
                  </a:lnTo>
                  <a:lnTo>
                    <a:pt x="85" y="545"/>
                  </a:lnTo>
                  <a:lnTo>
                    <a:pt x="91" y="545"/>
                  </a:lnTo>
                  <a:lnTo>
                    <a:pt x="97" y="539"/>
                  </a:lnTo>
                  <a:lnTo>
                    <a:pt x="97" y="533"/>
                  </a:lnTo>
                  <a:lnTo>
                    <a:pt x="97" y="528"/>
                  </a:lnTo>
                  <a:lnTo>
                    <a:pt x="102" y="522"/>
                  </a:lnTo>
                  <a:lnTo>
                    <a:pt x="108" y="522"/>
                  </a:lnTo>
                  <a:lnTo>
                    <a:pt x="114" y="522"/>
                  </a:lnTo>
                  <a:lnTo>
                    <a:pt x="119" y="528"/>
                  </a:lnTo>
                  <a:lnTo>
                    <a:pt x="119" y="522"/>
                  </a:lnTo>
                  <a:lnTo>
                    <a:pt x="125" y="522"/>
                  </a:lnTo>
                  <a:lnTo>
                    <a:pt x="125" y="516"/>
                  </a:lnTo>
                  <a:lnTo>
                    <a:pt x="131" y="516"/>
                  </a:lnTo>
                  <a:lnTo>
                    <a:pt x="131" y="511"/>
                  </a:lnTo>
                  <a:lnTo>
                    <a:pt x="125" y="505"/>
                  </a:lnTo>
                  <a:lnTo>
                    <a:pt x="125" y="499"/>
                  </a:lnTo>
                  <a:lnTo>
                    <a:pt x="119" y="499"/>
                  </a:lnTo>
                  <a:lnTo>
                    <a:pt x="114" y="488"/>
                  </a:lnTo>
                  <a:lnTo>
                    <a:pt x="108" y="488"/>
                  </a:lnTo>
                  <a:lnTo>
                    <a:pt x="108" y="482"/>
                  </a:lnTo>
                  <a:lnTo>
                    <a:pt x="102" y="482"/>
                  </a:lnTo>
                  <a:lnTo>
                    <a:pt x="97" y="482"/>
                  </a:lnTo>
                  <a:lnTo>
                    <a:pt x="91" y="482"/>
                  </a:lnTo>
                  <a:lnTo>
                    <a:pt x="91" y="477"/>
                  </a:lnTo>
                  <a:lnTo>
                    <a:pt x="85" y="477"/>
                  </a:lnTo>
                  <a:lnTo>
                    <a:pt x="85" y="471"/>
                  </a:lnTo>
                  <a:lnTo>
                    <a:pt x="85" y="465"/>
                  </a:lnTo>
                  <a:lnTo>
                    <a:pt x="85" y="460"/>
                  </a:lnTo>
                  <a:lnTo>
                    <a:pt x="91" y="460"/>
                  </a:lnTo>
                  <a:lnTo>
                    <a:pt x="91" y="454"/>
                  </a:lnTo>
                  <a:lnTo>
                    <a:pt x="97" y="454"/>
                  </a:lnTo>
                  <a:lnTo>
                    <a:pt x="97" y="448"/>
                  </a:lnTo>
                  <a:lnTo>
                    <a:pt x="97" y="443"/>
                  </a:lnTo>
                  <a:lnTo>
                    <a:pt x="102" y="443"/>
                  </a:lnTo>
                  <a:lnTo>
                    <a:pt x="102" y="437"/>
                  </a:lnTo>
                  <a:lnTo>
                    <a:pt x="102" y="431"/>
                  </a:lnTo>
                  <a:lnTo>
                    <a:pt x="102" y="426"/>
                  </a:lnTo>
                  <a:lnTo>
                    <a:pt x="102" y="420"/>
                  </a:lnTo>
                  <a:lnTo>
                    <a:pt x="97" y="414"/>
                  </a:lnTo>
                  <a:lnTo>
                    <a:pt x="97" y="409"/>
                  </a:lnTo>
                  <a:lnTo>
                    <a:pt x="97" y="403"/>
                  </a:lnTo>
                  <a:lnTo>
                    <a:pt x="97" y="397"/>
                  </a:lnTo>
                  <a:lnTo>
                    <a:pt x="91" y="392"/>
                  </a:lnTo>
                  <a:lnTo>
                    <a:pt x="85" y="386"/>
                  </a:lnTo>
                  <a:lnTo>
                    <a:pt x="85" y="380"/>
                  </a:lnTo>
                  <a:lnTo>
                    <a:pt x="85" y="369"/>
                  </a:lnTo>
                  <a:lnTo>
                    <a:pt x="85" y="363"/>
                  </a:lnTo>
                  <a:lnTo>
                    <a:pt x="80" y="363"/>
                  </a:lnTo>
                  <a:lnTo>
                    <a:pt x="80" y="358"/>
                  </a:lnTo>
                  <a:lnTo>
                    <a:pt x="80" y="352"/>
                  </a:lnTo>
                  <a:lnTo>
                    <a:pt x="80" y="346"/>
                  </a:lnTo>
                  <a:lnTo>
                    <a:pt x="80" y="341"/>
                  </a:lnTo>
                  <a:lnTo>
                    <a:pt x="74" y="341"/>
                  </a:lnTo>
                  <a:lnTo>
                    <a:pt x="74" y="335"/>
                  </a:lnTo>
                  <a:lnTo>
                    <a:pt x="68" y="335"/>
                  </a:lnTo>
                  <a:lnTo>
                    <a:pt x="68" y="329"/>
                  </a:lnTo>
                  <a:lnTo>
                    <a:pt x="68" y="312"/>
                  </a:lnTo>
                  <a:lnTo>
                    <a:pt x="68" y="307"/>
                  </a:lnTo>
                  <a:lnTo>
                    <a:pt x="68" y="301"/>
                  </a:lnTo>
                  <a:lnTo>
                    <a:pt x="68" y="295"/>
                  </a:lnTo>
                  <a:lnTo>
                    <a:pt x="68" y="290"/>
                  </a:lnTo>
                  <a:lnTo>
                    <a:pt x="68" y="267"/>
                  </a:lnTo>
                  <a:lnTo>
                    <a:pt x="63" y="261"/>
                  </a:lnTo>
                  <a:lnTo>
                    <a:pt x="63" y="256"/>
                  </a:lnTo>
                  <a:lnTo>
                    <a:pt x="63" y="250"/>
                  </a:lnTo>
                  <a:lnTo>
                    <a:pt x="63" y="244"/>
                  </a:lnTo>
                  <a:lnTo>
                    <a:pt x="57" y="239"/>
                  </a:lnTo>
                  <a:lnTo>
                    <a:pt x="57" y="233"/>
                  </a:lnTo>
                  <a:lnTo>
                    <a:pt x="57" y="205"/>
                  </a:lnTo>
                  <a:lnTo>
                    <a:pt x="57" y="193"/>
                  </a:lnTo>
                  <a:lnTo>
                    <a:pt x="63" y="182"/>
                  </a:lnTo>
                  <a:lnTo>
                    <a:pt x="63" y="176"/>
                  </a:lnTo>
                  <a:lnTo>
                    <a:pt x="63" y="165"/>
                  </a:lnTo>
                  <a:lnTo>
                    <a:pt x="63" y="154"/>
                  </a:lnTo>
                  <a:lnTo>
                    <a:pt x="63" y="137"/>
                  </a:lnTo>
                  <a:lnTo>
                    <a:pt x="63" y="119"/>
                  </a:lnTo>
                  <a:lnTo>
                    <a:pt x="74" y="119"/>
                  </a:lnTo>
                  <a:lnTo>
                    <a:pt x="80" y="114"/>
                  </a:lnTo>
                  <a:lnTo>
                    <a:pt x="85" y="114"/>
                  </a:lnTo>
                  <a:lnTo>
                    <a:pt x="91" y="114"/>
                  </a:lnTo>
                  <a:lnTo>
                    <a:pt x="91" y="108"/>
                  </a:lnTo>
                  <a:lnTo>
                    <a:pt x="97" y="108"/>
                  </a:lnTo>
                  <a:lnTo>
                    <a:pt x="102" y="97"/>
                  </a:lnTo>
                  <a:lnTo>
                    <a:pt x="108" y="97"/>
                  </a:lnTo>
                  <a:lnTo>
                    <a:pt x="108" y="91"/>
                  </a:lnTo>
                  <a:lnTo>
                    <a:pt x="114" y="91"/>
                  </a:lnTo>
                  <a:lnTo>
                    <a:pt x="114" y="85"/>
                  </a:lnTo>
                  <a:lnTo>
                    <a:pt x="119" y="85"/>
                  </a:lnTo>
                  <a:lnTo>
                    <a:pt x="125" y="80"/>
                  </a:lnTo>
                  <a:lnTo>
                    <a:pt x="131" y="80"/>
                  </a:lnTo>
                  <a:lnTo>
                    <a:pt x="136" y="80"/>
                  </a:lnTo>
                  <a:lnTo>
                    <a:pt x="153" y="85"/>
                  </a:lnTo>
                  <a:lnTo>
                    <a:pt x="159" y="85"/>
                  </a:lnTo>
                  <a:lnTo>
                    <a:pt x="170" y="85"/>
                  </a:lnTo>
                  <a:lnTo>
                    <a:pt x="176" y="85"/>
                  </a:lnTo>
                  <a:lnTo>
                    <a:pt x="182" y="85"/>
                  </a:lnTo>
                  <a:lnTo>
                    <a:pt x="193" y="80"/>
                  </a:lnTo>
                  <a:lnTo>
                    <a:pt x="199" y="74"/>
                  </a:lnTo>
                  <a:lnTo>
                    <a:pt x="205" y="74"/>
                  </a:lnTo>
                  <a:lnTo>
                    <a:pt x="210" y="68"/>
                  </a:lnTo>
                  <a:lnTo>
                    <a:pt x="216" y="68"/>
                  </a:lnTo>
                  <a:lnTo>
                    <a:pt x="222" y="68"/>
                  </a:lnTo>
                  <a:lnTo>
                    <a:pt x="222" y="63"/>
                  </a:lnTo>
                  <a:lnTo>
                    <a:pt x="227" y="63"/>
                  </a:lnTo>
                  <a:lnTo>
                    <a:pt x="233" y="57"/>
                  </a:lnTo>
                  <a:lnTo>
                    <a:pt x="239" y="51"/>
                  </a:lnTo>
                  <a:lnTo>
                    <a:pt x="244" y="51"/>
                  </a:lnTo>
                  <a:lnTo>
                    <a:pt x="250" y="51"/>
                  </a:lnTo>
                  <a:lnTo>
                    <a:pt x="250" y="46"/>
                  </a:lnTo>
                  <a:lnTo>
                    <a:pt x="256" y="46"/>
                  </a:lnTo>
                  <a:lnTo>
                    <a:pt x="261" y="40"/>
                  </a:lnTo>
                  <a:lnTo>
                    <a:pt x="267" y="40"/>
                  </a:lnTo>
                  <a:lnTo>
                    <a:pt x="267" y="34"/>
                  </a:lnTo>
                  <a:lnTo>
                    <a:pt x="273" y="34"/>
                  </a:lnTo>
                  <a:lnTo>
                    <a:pt x="278" y="34"/>
                  </a:lnTo>
                  <a:lnTo>
                    <a:pt x="295" y="23"/>
                  </a:lnTo>
                  <a:lnTo>
                    <a:pt x="295" y="17"/>
                  </a:lnTo>
                  <a:lnTo>
                    <a:pt x="307" y="12"/>
                  </a:lnTo>
                  <a:lnTo>
                    <a:pt x="312" y="12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9" y="0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6" y="0"/>
                  </a:lnTo>
                  <a:lnTo>
                    <a:pt x="352" y="0"/>
                  </a:lnTo>
                  <a:lnTo>
                    <a:pt x="358" y="0"/>
                  </a:lnTo>
                  <a:lnTo>
                    <a:pt x="363" y="6"/>
                  </a:lnTo>
                  <a:lnTo>
                    <a:pt x="369" y="6"/>
                  </a:lnTo>
                  <a:lnTo>
                    <a:pt x="375" y="6"/>
                  </a:lnTo>
                  <a:lnTo>
                    <a:pt x="392" y="6"/>
                  </a:lnTo>
                  <a:lnTo>
                    <a:pt x="397" y="6"/>
                  </a:lnTo>
                  <a:lnTo>
                    <a:pt x="403" y="12"/>
                  </a:lnTo>
                  <a:lnTo>
                    <a:pt x="409" y="12"/>
                  </a:lnTo>
                  <a:lnTo>
                    <a:pt x="414" y="12"/>
                  </a:lnTo>
                  <a:lnTo>
                    <a:pt x="420" y="12"/>
                  </a:lnTo>
                  <a:lnTo>
                    <a:pt x="426" y="12"/>
                  </a:lnTo>
                  <a:lnTo>
                    <a:pt x="426" y="17"/>
                  </a:lnTo>
                  <a:lnTo>
                    <a:pt x="431" y="17"/>
                  </a:lnTo>
                  <a:lnTo>
                    <a:pt x="443" y="23"/>
                  </a:lnTo>
                  <a:lnTo>
                    <a:pt x="448" y="23"/>
                  </a:lnTo>
                  <a:lnTo>
                    <a:pt x="454" y="29"/>
                  </a:lnTo>
                  <a:lnTo>
                    <a:pt x="460" y="34"/>
                  </a:lnTo>
                  <a:lnTo>
                    <a:pt x="465" y="40"/>
                  </a:lnTo>
                  <a:lnTo>
                    <a:pt x="471" y="40"/>
                  </a:lnTo>
                  <a:lnTo>
                    <a:pt x="488" y="46"/>
                  </a:lnTo>
                  <a:lnTo>
                    <a:pt x="488" y="51"/>
                  </a:lnTo>
                  <a:lnTo>
                    <a:pt x="494" y="51"/>
                  </a:lnTo>
                  <a:lnTo>
                    <a:pt x="499" y="57"/>
                  </a:lnTo>
                  <a:lnTo>
                    <a:pt x="499" y="63"/>
                  </a:lnTo>
                  <a:lnTo>
                    <a:pt x="505" y="63"/>
                  </a:lnTo>
                  <a:lnTo>
                    <a:pt x="505" y="68"/>
                  </a:lnTo>
                  <a:lnTo>
                    <a:pt x="511" y="74"/>
                  </a:lnTo>
                  <a:lnTo>
                    <a:pt x="516" y="80"/>
                  </a:lnTo>
                  <a:lnTo>
                    <a:pt x="522" y="80"/>
                  </a:lnTo>
                  <a:lnTo>
                    <a:pt x="528" y="85"/>
                  </a:lnTo>
                  <a:lnTo>
                    <a:pt x="528" y="91"/>
                  </a:lnTo>
                  <a:lnTo>
                    <a:pt x="533" y="91"/>
                  </a:lnTo>
                  <a:lnTo>
                    <a:pt x="539" y="97"/>
                  </a:lnTo>
                  <a:lnTo>
                    <a:pt x="545" y="102"/>
                  </a:lnTo>
                  <a:lnTo>
                    <a:pt x="550" y="97"/>
                  </a:lnTo>
                  <a:lnTo>
                    <a:pt x="562" y="97"/>
                  </a:lnTo>
                  <a:lnTo>
                    <a:pt x="567" y="97"/>
                  </a:lnTo>
                  <a:lnTo>
                    <a:pt x="573" y="97"/>
                  </a:lnTo>
                  <a:lnTo>
                    <a:pt x="579" y="97"/>
                  </a:lnTo>
                  <a:lnTo>
                    <a:pt x="584" y="102"/>
                  </a:lnTo>
                  <a:lnTo>
                    <a:pt x="590" y="102"/>
                  </a:lnTo>
                  <a:lnTo>
                    <a:pt x="596" y="108"/>
                  </a:lnTo>
                  <a:lnTo>
                    <a:pt x="601" y="114"/>
                  </a:lnTo>
                  <a:lnTo>
                    <a:pt x="607" y="114"/>
                  </a:lnTo>
                  <a:lnTo>
                    <a:pt x="618" y="125"/>
                  </a:lnTo>
                  <a:lnTo>
                    <a:pt x="618" y="131"/>
                  </a:lnTo>
                  <a:lnTo>
                    <a:pt x="624" y="137"/>
                  </a:lnTo>
                  <a:lnTo>
                    <a:pt x="624" y="142"/>
                  </a:lnTo>
                  <a:lnTo>
                    <a:pt x="630" y="142"/>
                  </a:lnTo>
                  <a:lnTo>
                    <a:pt x="635" y="148"/>
                  </a:lnTo>
                  <a:lnTo>
                    <a:pt x="641" y="148"/>
                  </a:lnTo>
                  <a:lnTo>
                    <a:pt x="647" y="148"/>
                  </a:lnTo>
                  <a:lnTo>
                    <a:pt x="647" y="154"/>
                  </a:lnTo>
                  <a:lnTo>
                    <a:pt x="647" y="148"/>
                  </a:lnTo>
                  <a:lnTo>
                    <a:pt x="652" y="154"/>
                  </a:lnTo>
                  <a:lnTo>
                    <a:pt x="664" y="154"/>
                  </a:lnTo>
                  <a:lnTo>
                    <a:pt x="669" y="159"/>
                  </a:lnTo>
                  <a:lnTo>
                    <a:pt x="675" y="159"/>
                  </a:lnTo>
                  <a:lnTo>
                    <a:pt x="681" y="159"/>
                  </a:lnTo>
                  <a:lnTo>
                    <a:pt x="686" y="165"/>
                  </a:lnTo>
                  <a:lnTo>
                    <a:pt x="692" y="165"/>
                  </a:lnTo>
                  <a:lnTo>
                    <a:pt x="698" y="165"/>
                  </a:lnTo>
                  <a:lnTo>
                    <a:pt x="703" y="165"/>
                  </a:lnTo>
                  <a:lnTo>
                    <a:pt x="709" y="171"/>
                  </a:lnTo>
                  <a:lnTo>
                    <a:pt x="720" y="176"/>
                  </a:lnTo>
                  <a:lnTo>
                    <a:pt x="726" y="176"/>
                  </a:lnTo>
                  <a:lnTo>
                    <a:pt x="732" y="176"/>
                  </a:lnTo>
                  <a:lnTo>
                    <a:pt x="743" y="199"/>
                  </a:lnTo>
                  <a:lnTo>
                    <a:pt x="737" y="205"/>
                  </a:lnTo>
                  <a:lnTo>
                    <a:pt x="737" y="210"/>
                  </a:lnTo>
                  <a:lnTo>
                    <a:pt x="732" y="210"/>
                  </a:lnTo>
                  <a:lnTo>
                    <a:pt x="732" y="216"/>
                  </a:lnTo>
                  <a:lnTo>
                    <a:pt x="726" y="216"/>
                  </a:lnTo>
                  <a:lnTo>
                    <a:pt x="726" y="222"/>
                  </a:lnTo>
                  <a:lnTo>
                    <a:pt x="726" y="227"/>
                  </a:lnTo>
                  <a:lnTo>
                    <a:pt x="720" y="227"/>
                  </a:lnTo>
                  <a:lnTo>
                    <a:pt x="720" y="233"/>
                  </a:lnTo>
                  <a:lnTo>
                    <a:pt x="715" y="233"/>
                  </a:lnTo>
                  <a:lnTo>
                    <a:pt x="709" y="239"/>
                  </a:lnTo>
                  <a:lnTo>
                    <a:pt x="703" y="239"/>
                  </a:lnTo>
                  <a:lnTo>
                    <a:pt x="698" y="244"/>
                  </a:lnTo>
                  <a:lnTo>
                    <a:pt x="692" y="244"/>
                  </a:lnTo>
                  <a:lnTo>
                    <a:pt x="686" y="244"/>
                  </a:lnTo>
                  <a:lnTo>
                    <a:pt x="669" y="244"/>
                  </a:lnTo>
                  <a:lnTo>
                    <a:pt x="669" y="250"/>
                  </a:lnTo>
                  <a:lnTo>
                    <a:pt x="664" y="244"/>
                  </a:lnTo>
                  <a:lnTo>
                    <a:pt x="652" y="244"/>
                  </a:lnTo>
                  <a:lnTo>
                    <a:pt x="641" y="239"/>
                  </a:lnTo>
                  <a:lnTo>
                    <a:pt x="635" y="239"/>
                  </a:lnTo>
                  <a:lnTo>
                    <a:pt x="630" y="233"/>
                  </a:lnTo>
                  <a:lnTo>
                    <a:pt x="624" y="233"/>
                  </a:lnTo>
                  <a:lnTo>
                    <a:pt x="624" y="227"/>
                  </a:lnTo>
                  <a:lnTo>
                    <a:pt x="618" y="227"/>
                  </a:lnTo>
                  <a:lnTo>
                    <a:pt x="613" y="222"/>
                  </a:lnTo>
                  <a:lnTo>
                    <a:pt x="613" y="216"/>
                  </a:lnTo>
                  <a:lnTo>
                    <a:pt x="607" y="210"/>
                  </a:lnTo>
                  <a:lnTo>
                    <a:pt x="601" y="205"/>
                  </a:lnTo>
                  <a:lnTo>
                    <a:pt x="596" y="205"/>
                  </a:lnTo>
                  <a:lnTo>
                    <a:pt x="596" y="193"/>
                  </a:lnTo>
                  <a:lnTo>
                    <a:pt x="584" y="188"/>
                  </a:lnTo>
                  <a:lnTo>
                    <a:pt x="584" y="182"/>
                  </a:lnTo>
                  <a:lnTo>
                    <a:pt x="579" y="182"/>
                  </a:lnTo>
                  <a:lnTo>
                    <a:pt x="567" y="182"/>
                  </a:lnTo>
                  <a:lnTo>
                    <a:pt x="556" y="182"/>
                  </a:lnTo>
                  <a:lnTo>
                    <a:pt x="550" y="188"/>
                  </a:lnTo>
                  <a:lnTo>
                    <a:pt x="545" y="188"/>
                  </a:lnTo>
                  <a:lnTo>
                    <a:pt x="539" y="188"/>
                  </a:lnTo>
                  <a:lnTo>
                    <a:pt x="533" y="188"/>
                  </a:lnTo>
                  <a:lnTo>
                    <a:pt x="528" y="193"/>
                  </a:lnTo>
                  <a:lnTo>
                    <a:pt x="522" y="193"/>
                  </a:lnTo>
                  <a:lnTo>
                    <a:pt x="516" y="188"/>
                  </a:lnTo>
                  <a:lnTo>
                    <a:pt x="511" y="188"/>
                  </a:lnTo>
                  <a:lnTo>
                    <a:pt x="505" y="188"/>
                  </a:lnTo>
                  <a:lnTo>
                    <a:pt x="499" y="182"/>
                  </a:lnTo>
                  <a:lnTo>
                    <a:pt x="494" y="182"/>
                  </a:lnTo>
                  <a:lnTo>
                    <a:pt x="488" y="182"/>
                  </a:lnTo>
                  <a:lnTo>
                    <a:pt x="482" y="182"/>
                  </a:lnTo>
                  <a:lnTo>
                    <a:pt x="477" y="182"/>
                  </a:lnTo>
                  <a:lnTo>
                    <a:pt x="465" y="182"/>
                  </a:lnTo>
                  <a:lnTo>
                    <a:pt x="460" y="188"/>
                  </a:lnTo>
                  <a:lnTo>
                    <a:pt x="454" y="193"/>
                  </a:lnTo>
                  <a:lnTo>
                    <a:pt x="454" y="199"/>
                  </a:lnTo>
                  <a:lnTo>
                    <a:pt x="454" y="205"/>
                  </a:lnTo>
                  <a:lnTo>
                    <a:pt x="454" y="222"/>
                  </a:lnTo>
                  <a:lnTo>
                    <a:pt x="454" y="233"/>
                  </a:lnTo>
                  <a:lnTo>
                    <a:pt x="454" y="239"/>
                  </a:lnTo>
                  <a:lnTo>
                    <a:pt x="454" y="244"/>
                  </a:lnTo>
                  <a:lnTo>
                    <a:pt x="454" y="250"/>
                  </a:lnTo>
                  <a:lnTo>
                    <a:pt x="454" y="256"/>
                  </a:lnTo>
                  <a:lnTo>
                    <a:pt x="465" y="261"/>
                  </a:lnTo>
                  <a:lnTo>
                    <a:pt x="465" y="267"/>
                  </a:lnTo>
                  <a:lnTo>
                    <a:pt x="471" y="267"/>
                  </a:lnTo>
                  <a:lnTo>
                    <a:pt x="482" y="267"/>
                  </a:lnTo>
                  <a:lnTo>
                    <a:pt x="482" y="273"/>
                  </a:lnTo>
                  <a:lnTo>
                    <a:pt x="488" y="273"/>
                  </a:lnTo>
                  <a:lnTo>
                    <a:pt x="494" y="273"/>
                  </a:lnTo>
                  <a:lnTo>
                    <a:pt x="482" y="278"/>
                  </a:lnTo>
                  <a:lnTo>
                    <a:pt x="482" y="284"/>
                  </a:lnTo>
                  <a:lnTo>
                    <a:pt x="477" y="290"/>
                  </a:lnTo>
                  <a:lnTo>
                    <a:pt x="471" y="290"/>
                  </a:lnTo>
                  <a:lnTo>
                    <a:pt x="465" y="295"/>
                  </a:lnTo>
                  <a:lnTo>
                    <a:pt x="465" y="301"/>
                  </a:lnTo>
                  <a:lnTo>
                    <a:pt x="465" y="307"/>
                  </a:lnTo>
                  <a:lnTo>
                    <a:pt x="460" y="307"/>
                  </a:lnTo>
                  <a:lnTo>
                    <a:pt x="454" y="312"/>
                  </a:lnTo>
                  <a:lnTo>
                    <a:pt x="454" y="324"/>
                  </a:lnTo>
                  <a:lnTo>
                    <a:pt x="454" y="329"/>
                  </a:lnTo>
                  <a:lnTo>
                    <a:pt x="448" y="329"/>
                  </a:lnTo>
                  <a:lnTo>
                    <a:pt x="448" y="335"/>
                  </a:lnTo>
                  <a:lnTo>
                    <a:pt x="443" y="341"/>
                  </a:lnTo>
                  <a:lnTo>
                    <a:pt x="437" y="346"/>
                  </a:lnTo>
                  <a:lnTo>
                    <a:pt x="431" y="346"/>
                  </a:lnTo>
                  <a:lnTo>
                    <a:pt x="426" y="352"/>
                  </a:lnTo>
                  <a:lnTo>
                    <a:pt x="420" y="352"/>
                  </a:lnTo>
                  <a:lnTo>
                    <a:pt x="420" y="358"/>
                  </a:lnTo>
                  <a:lnTo>
                    <a:pt x="409" y="358"/>
                  </a:lnTo>
                  <a:lnTo>
                    <a:pt x="403" y="358"/>
                  </a:lnTo>
                  <a:lnTo>
                    <a:pt x="397" y="358"/>
                  </a:lnTo>
                  <a:lnTo>
                    <a:pt x="392" y="363"/>
                  </a:lnTo>
                  <a:lnTo>
                    <a:pt x="386" y="363"/>
                  </a:lnTo>
                  <a:lnTo>
                    <a:pt x="380" y="363"/>
                  </a:lnTo>
                  <a:lnTo>
                    <a:pt x="375" y="363"/>
                  </a:lnTo>
                  <a:lnTo>
                    <a:pt x="369" y="363"/>
                  </a:lnTo>
                  <a:lnTo>
                    <a:pt x="369" y="369"/>
                  </a:lnTo>
                  <a:lnTo>
                    <a:pt x="358" y="375"/>
                  </a:lnTo>
                  <a:lnTo>
                    <a:pt x="352" y="375"/>
                  </a:lnTo>
                  <a:lnTo>
                    <a:pt x="352" y="380"/>
                  </a:lnTo>
                  <a:lnTo>
                    <a:pt x="346" y="380"/>
                  </a:lnTo>
                  <a:lnTo>
                    <a:pt x="341" y="386"/>
                  </a:lnTo>
                  <a:lnTo>
                    <a:pt x="335" y="392"/>
                  </a:lnTo>
                  <a:lnTo>
                    <a:pt x="329" y="403"/>
                  </a:lnTo>
                  <a:lnTo>
                    <a:pt x="329" y="409"/>
                  </a:lnTo>
                  <a:lnTo>
                    <a:pt x="329" y="414"/>
                  </a:lnTo>
                  <a:lnTo>
                    <a:pt x="329" y="420"/>
                  </a:lnTo>
                  <a:lnTo>
                    <a:pt x="329" y="426"/>
                  </a:lnTo>
                  <a:lnTo>
                    <a:pt x="335" y="431"/>
                  </a:lnTo>
                  <a:lnTo>
                    <a:pt x="335" y="443"/>
                  </a:lnTo>
                  <a:lnTo>
                    <a:pt x="335" y="448"/>
                  </a:lnTo>
                  <a:lnTo>
                    <a:pt x="335" y="454"/>
                  </a:lnTo>
                  <a:lnTo>
                    <a:pt x="341" y="465"/>
                  </a:lnTo>
                  <a:lnTo>
                    <a:pt x="341" y="471"/>
                  </a:lnTo>
                  <a:lnTo>
                    <a:pt x="341" y="477"/>
                  </a:lnTo>
                  <a:lnTo>
                    <a:pt x="335" y="488"/>
                  </a:lnTo>
                  <a:lnTo>
                    <a:pt x="335" y="494"/>
                  </a:lnTo>
                  <a:lnTo>
                    <a:pt x="335" y="505"/>
                  </a:lnTo>
                  <a:lnTo>
                    <a:pt x="335" y="511"/>
                  </a:lnTo>
                  <a:lnTo>
                    <a:pt x="335" y="516"/>
                  </a:lnTo>
                  <a:lnTo>
                    <a:pt x="335" y="522"/>
                  </a:lnTo>
                  <a:lnTo>
                    <a:pt x="341" y="522"/>
                  </a:lnTo>
                  <a:lnTo>
                    <a:pt x="341" y="528"/>
                  </a:lnTo>
                  <a:lnTo>
                    <a:pt x="341" y="533"/>
                  </a:lnTo>
                  <a:lnTo>
                    <a:pt x="346" y="533"/>
                  </a:lnTo>
                  <a:lnTo>
                    <a:pt x="346" y="539"/>
                  </a:lnTo>
                  <a:lnTo>
                    <a:pt x="352" y="545"/>
                  </a:lnTo>
                  <a:lnTo>
                    <a:pt x="352" y="550"/>
                  </a:lnTo>
                  <a:lnTo>
                    <a:pt x="352" y="556"/>
                  </a:lnTo>
                  <a:lnTo>
                    <a:pt x="352" y="562"/>
                  </a:lnTo>
                  <a:lnTo>
                    <a:pt x="352" y="567"/>
                  </a:lnTo>
                  <a:lnTo>
                    <a:pt x="352" y="579"/>
                  </a:lnTo>
                  <a:lnTo>
                    <a:pt x="352" y="584"/>
                  </a:lnTo>
                  <a:lnTo>
                    <a:pt x="358" y="590"/>
                  </a:lnTo>
                  <a:lnTo>
                    <a:pt x="363" y="596"/>
                  </a:lnTo>
                  <a:lnTo>
                    <a:pt x="363" y="601"/>
                  </a:lnTo>
                  <a:lnTo>
                    <a:pt x="363" y="607"/>
                  </a:lnTo>
                  <a:lnTo>
                    <a:pt x="363" y="613"/>
                  </a:lnTo>
                  <a:lnTo>
                    <a:pt x="363" y="618"/>
                  </a:lnTo>
                  <a:lnTo>
                    <a:pt x="352" y="624"/>
                  </a:lnTo>
                  <a:lnTo>
                    <a:pt x="346" y="624"/>
                  </a:lnTo>
                  <a:lnTo>
                    <a:pt x="335" y="624"/>
                  </a:lnTo>
                  <a:lnTo>
                    <a:pt x="329" y="624"/>
                  </a:lnTo>
                  <a:lnTo>
                    <a:pt x="324" y="624"/>
                  </a:lnTo>
                  <a:lnTo>
                    <a:pt x="318" y="630"/>
                  </a:lnTo>
                  <a:lnTo>
                    <a:pt x="312" y="630"/>
                  </a:lnTo>
                  <a:lnTo>
                    <a:pt x="312" y="635"/>
                  </a:lnTo>
                  <a:lnTo>
                    <a:pt x="307" y="635"/>
                  </a:lnTo>
                  <a:lnTo>
                    <a:pt x="301" y="641"/>
                  </a:lnTo>
                  <a:lnTo>
                    <a:pt x="295" y="641"/>
                  </a:lnTo>
                  <a:lnTo>
                    <a:pt x="295" y="652"/>
                  </a:lnTo>
                  <a:lnTo>
                    <a:pt x="290" y="652"/>
                  </a:lnTo>
                  <a:lnTo>
                    <a:pt x="290" y="658"/>
                  </a:lnTo>
                  <a:lnTo>
                    <a:pt x="284" y="658"/>
                  </a:lnTo>
                  <a:lnTo>
                    <a:pt x="284" y="664"/>
                  </a:lnTo>
                  <a:lnTo>
                    <a:pt x="278" y="664"/>
                  </a:lnTo>
                  <a:lnTo>
                    <a:pt x="278" y="669"/>
                  </a:lnTo>
                  <a:lnTo>
                    <a:pt x="284" y="669"/>
                  </a:lnTo>
                  <a:lnTo>
                    <a:pt x="284" y="675"/>
                  </a:lnTo>
                  <a:lnTo>
                    <a:pt x="284" y="681"/>
                  </a:lnTo>
                  <a:lnTo>
                    <a:pt x="290" y="681"/>
                  </a:lnTo>
                  <a:lnTo>
                    <a:pt x="290" y="686"/>
                  </a:lnTo>
                  <a:lnTo>
                    <a:pt x="295" y="686"/>
                  </a:lnTo>
                  <a:lnTo>
                    <a:pt x="295" y="692"/>
                  </a:lnTo>
                  <a:lnTo>
                    <a:pt x="295" y="698"/>
                  </a:lnTo>
                  <a:lnTo>
                    <a:pt x="307" y="698"/>
                  </a:lnTo>
                  <a:lnTo>
                    <a:pt x="307" y="703"/>
                  </a:lnTo>
                  <a:lnTo>
                    <a:pt x="307" y="709"/>
                  </a:lnTo>
                  <a:lnTo>
                    <a:pt x="312" y="715"/>
                  </a:lnTo>
                  <a:lnTo>
                    <a:pt x="318" y="715"/>
                  </a:lnTo>
                  <a:lnTo>
                    <a:pt x="324" y="715"/>
                  </a:lnTo>
                  <a:lnTo>
                    <a:pt x="329" y="715"/>
                  </a:lnTo>
                  <a:lnTo>
                    <a:pt x="335" y="715"/>
                  </a:lnTo>
                  <a:lnTo>
                    <a:pt x="341" y="715"/>
                  </a:lnTo>
                  <a:lnTo>
                    <a:pt x="341" y="720"/>
                  </a:lnTo>
                  <a:lnTo>
                    <a:pt x="329" y="726"/>
                  </a:lnTo>
                  <a:lnTo>
                    <a:pt x="324" y="726"/>
                  </a:lnTo>
                  <a:lnTo>
                    <a:pt x="318" y="732"/>
                  </a:lnTo>
                  <a:lnTo>
                    <a:pt x="312" y="732"/>
                  </a:lnTo>
                  <a:lnTo>
                    <a:pt x="312" y="737"/>
                  </a:lnTo>
                  <a:lnTo>
                    <a:pt x="307" y="737"/>
                  </a:lnTo>
                  <a:lnTo>
                    <a:pt x="307" y="743"/>
                  </a:lnTo>
                  <a:lnTo>
                    <a:pt x="301" y="743"/>
                  </a:lnTo>
                  <a:lnTo>
                    <a:pt x="301" y="749"/>
                  </a:lnTo>
                  <a:lnTo>
                    <a:pt x="295" y="749"/>
                  </a:lnTo>
                  <a:lnTo>
                    <a:pt x="284" y="754"/>
                  </a:lnTo>
                  <a:lnTo>
                    <a:pt x="284" y="760"/>
                  </a:lnTo>
                  <a:lnTo>
                    <a:pt x="278" y="766"/>
                  </a:lnTo>
                  <a:lnTo>
                    <a:pt x="273" y="766"/>
                  </a:lnTo>
                  <a:lnTo>
                    <a:pt x="267" y="766"/>
                  </a:lnTo>
                  <a:lnTo>
                    <a:pt x="261" y="766"/>
                  </a:lnTo>
                  <a:lnTo>
                    <a:pt x="256" y="766"/>
                  </a:lnTo>
                  <a:lnTo>
                    <a:pt x="256" y="760"/>
                  </a:lnTo>
                  <a:lnTo>
                    <a:pt x="256" y="749"/>
                  </a:lnTo>
                  <a:lnTo>
                    <a:pt x="256" y="743"/>
                  </a:lnTo>
                  <a:lnTo>
                    <a:pt x="256" y="737"/>
                  </a:lnTo>
                  <a:lnTo>
                    <a:pt x="250" y="726"/>
                  </a:lnTo>
                  <a:lnTo>
                    <a:pt x="244" y="726"/>
                  </a:lnTo>
                  <a:lnTo>
                    <a:pt x="239" y="720"/>
                  </a:lnTo>
                  <a:lnTo>
                    <a:pt x="233" y="720"/>
                  </a:lnTo>
                  <a:lnTo>
                    <a:pt x="227" y="715"/>
                  </a:lnTo>
                  <a:lnTo>
                    <a:pt x="227" y="709"/>
                  </a:lnTo>
                  <a:lnTo>
                    <a:pt x="222" y="709"/>
                  </a:lnTo>
                  <a:lnTo>
                    <a:pt x="216" y="703"/>
                  </a:lnTo>
                  <a:lnTo>
                    <a:pt x="210" y="703"/>
                  </a:lnTo>
                  <a:lnTo>
                    <a:pt x="199" y="703"/>
                  </a:lnTo>
                  <a:lnTo>
                    <a:pt x="193" y="703"/>
                  </a:lnTo>
                  <a:lnTo>
                    <a:pt x="188" y="709"/>
                  </a:lnTo>
                  <a:lnTo>
                    <a:pt x="182" y="709"/>
                  </a:lnTo>
                  <a:lnTo>
                    <a:pt x="176" y="709"/>
                  </a:lnTo>
                  <a:lnTo>
                    <a:pt x="176" y="715"/>
                  </a:lnTo>
                  <a:lnTo>
                    <a:pt x="170" y="720"/>
                  </a:lnTo>
                  <a:lnTo>
                    <a:pt x="170" y="737"/>
                  </a:lnTo>
                  <a:lnTo>
                    <a:pt x="165" y="737"/>
                  </a:lnTo>
                  <a:lnTo>
                    <a:pt x="165" y="743"/>
                  </a:lnTo>
                  <a:lnTo>
                    <a:pt x="159" y="743"/>
                  </a:lnTo>
                  <a:lnTo>
                    <a:pt x="153" y="743"/>
                  </a:lnTo>
                  <a:lnTo>
                    <a:pt x="148" y="743"/>
                  </a:lnTo>
                  <a:lnTo>
                    <a:pt x="142" y="737"/>
                  </a:lnTo>
                  <a:lnTo>
                    <a:pt x="136" y="737"/>
                  </a:lnTo>
                  <a:lnTo>
                    <a:pt x="125" y="737"/>
                  </a:lnTo>
                  <a:lnTo>
                    <a:pt x="114" y="743"/>
                  </a:lnTo>
                  <a:lnTo>
                    <a:pt x="114" y="749"/>
                  </a:lnTo>
                  <a:lnTo>
                    <a:pt x="114" y="754"/>
                  </a:lnTo>
                  <a:lnTo>
                    <a:pt x="114" y="766"/>
                  </a:lnTo>
                  <a:lnTo>
                    <a:pt x="114" y="771"/>
                  </a:lnTo>
                  <a:lnTo>
                    <a:pt x="114" y="777"/>
                  </a:lnTo>
                  <a:lnTo>
                    <a:pt x="114" y="783"/>
                  </a:lnTo>
                  <a:lnTo>
                    <a:pt x="114" y="788"/>
                  </a:lnTo>
                  <a:lnTo>
                    <a:pt x="108" y="788"/>
                  </a:lnTo>
                  <a:lnTo>
                    <a:pt x="102" y="794"/>
                  </a:lnTo>
                  <a:lnTo>
                    <a:pt x="97" y="794"/>
                  </a:lnTo>
                  <a:lnTo>
                    <a:pt x="85" y="788"/>
                  </a:lnTo>
                  <a:lnTo>
                    <a:pt x="85" y="783"/>
                  </a:lnTo>
                  <a:lnTo>
                    <a:pt x="80" y="777"/>
                  </a:lnTo>
                  <a:lnTo>
                    <a:pt x="74" y="777"/>
                  </a:lnTo>
                  <a:lnTo>
                    <a:pt x="74" y="771"/>
                  </a:lnTo>
                  <a:lnTo>
                    <a:pt x="68" y="771"/>
                  </a:lnTo>
                  <a:lnTo>
                    <a:pt x="68" y="766"/>
                  </a:lnTo>
                  <a:lnTo>
                    <a:pt x="63" y="766"/>
                  </a:lnTo>
                  <a:lnTo>
                    <a:pt x="57" y="766"/>
                  </a:lnTo>
                  <a:lnTo>
                    <a:pt x="51" y="760"/>
                  </a:lnTo>
                  <a:lnTo>
                    <a:pt x="46" y="760"/>
                  </a:lnTo>
                  <a:lnTo>
                    <a:pt x="46" y="754"/>
                  </a:lnTo>
                  <a:lnTo>
                    <a:pt x="40" y="754"/>
                  </a:lnTo>
                  <a:lnTo>
                    <a:pt x="40" y="749"/>
                  </a:lnTo>
                  <a:lnTo>
                    <a:pt x="40" y="743"/>
                  </a:lnTo>
                  <a:lnTo>
                    <a:pt x="40" y="737"/>
                  </a:lnTo>
                  <a:lnTo>
                    <a:pt x="46" y="737"/>
                  </a:lnTo>
                  <a:lnTo>
                    <a:pt x="46" y="726"/>
                  </a:lnTo>
                  <a:lnTo>
                    <a:pt x="46" y="720"/>
                  </a:lnTo>
                  <a:lnTo>
                    <a:pt x="46" y="715"/>
                  </a:lnTo>
                  <a:lnTo>
                    <a:pt x="40" y="715"/>
                  </a:lnTo>
                  <a:lnTo>
                    <a:pt x="34" y="709"/>
                  </a:lnTo>
                  <a:lnTo>
                    <a:pt x="23" y="709"/>
                  </a:lnTo>
                  <a:lnTo>
                    <a:pt x="17" y="709"/>
                  </a:lnTo>
                  <a:lnTo>
                    <a:pt x="12" y="709"/>
                  </a:lnTo>
                  <a:lnTo>
                    <a:pt x="6" y="703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0" name="Freeform 9"/>
            <p:cNvSpPr>
              <a:spLocks/>
            </p:cNvSpPr>
            <p:nvPr/>
          </p:nvSpPr>
          <p:spPr bwMode="gray">
            <a:xfrm>
              <a:off x="596723" y="954181"/>
              <a:ext cx="1272437" cy="1483301"/>
            </a:xfrm>
            <a:custGeom>
              <a:avLst/>
              <a:gdLst>
                <a:gd name="T0" fmla="*/ 2147483647 w 907"/>
                <a:gd name="T1" fmla="*/ 2147483647 h 1111"/>
                <a:gd name="T2" fmla="*/ 2147483647 w 907"/>
                <a:gd name="T3" fmla="*/ 2147483647 h 1111"/>
                <a:gd name="T4" fmla="*/ 2147483647 w 907"/>
                <a:gd name="T5" fmla="*/ 2147483647 h 1111"/>
                <a:gd name="T6" fmla="*/ 2147483647 w 907"/>
                <a:gd name="T7" fmla="*/ 2147483647 h 1111"/>
                <a:gd name="T8" fmla="*/ 2147483647 w 907"/>
                <a:gd name="T9" fmla="*/ 2147483647 h 1111"/>
                <a:gd name="T10" fmla="*/ 2147483647 w 907"/>
                <a:gd name="T11" fmla="*/ 2147483647 h 1111"/>
                <a:gd name="T12" fmla="*/ 2147483647 w 907"/>
                <a:gd name="T13" fmla="*/ 2147483647 h 1111"/>
                <a:gd name="T14" fmla="*/ 2147483647 w 907"/>
                <a:gd name="T15" fmla="*/ 2147483647 h 1111"/>
                <a:gd name="T16" fmla="*/ 2147483647 w 907"/>
                <a:gd name="T17" fmla="*/ 2147483647 h 1111"/>
                <a:gd name="T18" fmla="*/ 2147483647 w 907"/>
                <a:gd name="T19" fmla="*/ 2147483647 h 1111"/>
                <a:gd name="T20" fmla="*/ 2147483647 w 907"/>
                <a:gd name="T21" fmla="*/ 2147483647 h 1111"/>
                <a:gd name="T22" fmla="*/ 2147483647 w 907"/>
                <a:gd name="T23" fmla="*/ 2147483647 h 1111"/>
                <a:gd name="T24" fmla="*/ 2147483647 w 907"/>
                <a:gd name="T25" fmla="*/ 2147483647 h 1111"/>
                <a:gd name="T26" fmla="*/ 2147483647 w 907"/>
                <a:gd name="T27" fmla="*/ 2147483647 h 1111"/>
                <a:gd name="T28" fmla="*/ 2147483647 w 907"/>
                <a:gd name="T29" fmla="*/ 2147483647 h 1111"/>
                <a:gd name="T30" fmla="*/ 2147483647 w 907"/>
                <a:gd name="T31" fmla="*/ 2147483647 h 1111"/>
                <a:gd name="T32" fmla="*/ 2147483647 w 907"/>
                <a:gd name="T33" fmla="*/ 2147483647 h 1111"/>
                <a:gd name="T34" fmla="*/ 2147483647 w 907"/>
                <a:gd name="T35" fmla="*/ 2147483647 h 1111"/>
                <a:gd name="T36" fmla="*/ 2147483647 w 907"/>
                <a:gd name="T37" fmla="*/ 2147483647 h 1111"/>
                <a:gd name="T38" fmla="*/ 2147483647 w 907"/>
                <a:gd name="T39" fmla="*/ 2147483647 h 1111"/>
                <a:gd name="T40" fmla="*/ 2147483647 w 907"/>
                <a:gd name="T41" fmla="*/ 2147483647 h 1111"/>
                <a:gd name="T42" fmla="*/ 2147483647 w 907"/>
                <a:gd name="T43" fmla="*/ 2147483647 h 1111"/>
                <a:gd name="T44" fmla="*/ 2147483647 w 907"/>
                <a:gd name="T45" fmla="*/ 2147483647 h 1111"/>
                <a:gd name="T46" fmla="*/ 2147483647 w 907"/>
                <a:gd name="T47" fmla="*/ 2147483647 h 1111"/>
                <a:gd name="T48" fmla="*/ 2147483647 w 907"/>
                <a:gd name="T49" fmla="*/ 2147483647 h 1111"/>
                <a:gd name="T50" fmla="*/ 2147483647 w 907"/>
                <a:gd name="T51" fmla="*/ 2147483647 h 1111"/>
                <a:gd name="T52" fmla="*/ 2147483647 w 907"/>
                <a:gd name="T53" fmla="*/ 2147483647 h 1111"/>
                <a:gd name="T54" fmla="*/ 2147483647 w 907"/>
                <a:gd name="T55" fmla="*/ 2147483647 h 1111"/>
                <a:gd name="T56" fmla="*/ 2147483647 w 907"/>
                <a:gd name="T57" fmla="*/ 2147483647 h 1111"/>
                <a:gd name="T58" fmla="*/ 2147483647 w 907"/>
                <a:gd name="T59" fmla="*/ 2147483647 h 1111"/>
                <a:gd name="T60" fmla="*/ 2147483647 w 907"/>
                <a:gd name="T61" fmla="*/ 2147483647 h 1111"/>
                <a:gd name="T62" fmla="*/ 2147483647 w 907"/>
                <a:gd name="T63" fmla="*/ 2147483647 h 1111"/>
                <a:gd name="T64" fmla="*/ 2147483647 w 907"/>
                <a:gd name="T65" fmla="*/ 2147483647 h 1111"/>
                <a:gd name="T66" fmla="*/ 2147483647 w 907"/>
                <a:gd name="T67" fmla="*/ 2147483647 h 1111"/>
                <a:gd name="T68" fmla="*/ 2147483647 w 907"/>
                <a:gd name="T69" fmla="*/ 2147483647 h 1111"/>
                <a:gd name="T70" fmla="*/ 2147483647 w 907"/>
                <a:gd name="T71" fmla="*/ 2147483647 h 1111"/>
                <a:gd name="T72" fmla="*/ 2147483647 w 907"/>
                <a:gd name="T73" fmla="*/ 2147483647 h 1111"/>
                <a:gd name="T74" fmla="*/ 2147483647 w 907"/>
                <a:gd name="T75" fmla="*/ 2147483647 h 1111"/>
                <a:gd name="T76" fmla="*/ 2147483647 w 907"/>
                <a:gd name="T77" fmla="*/ 2147483647 h 1111"/>
                <a:gd name="T78" fmla="*/ 2147483647 w 907"/>
                <a:gd name="T79" fmla="*/ 2147483647 h 1111"/>
                <a:gd name="T80" fmla="*/ 2147483647 w 907"/>
                <a:gd name="T81" fmla="*/ 2147483647 h 1111"/>
                <a:gd name="T82" fmla="*/ 2147483647 w 907"/>
                <a:gd name="T83" fmla="*/ 2147483647 h 1111"/>
                <a:gd name="T84" fmla="*/ 2147483647 w 907"/>
                <a:gd name="T85" fmla="*/ 2147483647 h 1111"/>
                <a:gd name="T86" fmla="*/ 2147483647 w 907"/>
                <a:gd name="T87" fmla="*/ 2147483647 h 1111"/>
                <a:gd name="T88" fmla="*/ 2147483647 w 907"/>
                <a:gd name="T89" fmla="*/ 2147483647 h 1111"/>
                <a:gd name="T90" fmla="*/ 2147483647 w 907"/>
                <a:gd name="T91" fmla="*/ 2147483647 h 1111"/>
                <a:gd name="T92" fmla="*/ 2147483647 w 907"/>
                <a:gd name="T93" fmla="*/ 2147483647 h 1111"/>
                <a:gd name="T94" fmla="*/ 2147483647 w 907"/>
                <a:gd name="T95" fmla="*/ 2147483647 h 1111"/>
                <a:gd name="T96" fmla="*/ 2147483647 w 907"/>
                <a:gd name="T97" fmla="*/ 2147483647 h 1111"/>
                <a:gd name="T98" fmla="*/ 2147483647 w 907"/>
                <a:gd name="T99" fmla="*/ 2147483647 h 1111"/>
                <a:gd name="T100" fmla="*/ 2147483647 w 907"/>
                <a:gd name="T101" fmla="*/ 2147483647 h 1111"/>
                <a:gd name="T102" fmla="*/ 2147483647 w 907"/>
                <a:gd name="T103" fmla="*/ 2147483647 h 1111"/>
                <a:gd name="T104" fmla="*/ 2147483647 w 907"/>
                <a:gd name="T105" fmla="*/ 2147483647 h 1111"/>
                <a:gd name="T106" fmla="*/ 2147483647 w 907"/>
                <a:gd name="T107" fmla="*/ 2147483647 h 1111"/>
                <a:gd name="T108" fmla="*/ 2147483647 w 907"/>
                <a:gd name="T109" fmla="*/ 2147483647 h 1111"/>
                <a:gd name="T110" fmla="*/ 2147483647 w 907"/>
                <a:gd name="T111" fmla="*/ 2147483647 h 1111"/>
                <a:gd name="T112" fmla="*/ 2147483647 w 907"/>
                <a:gd name="T113" fmla="*/ 2147483647 h 1111"/>
                <a:gd name="T114" fmla="*/ 2147483647 w 907"/>
                <a:gd name="T115" fmla="*/ 2147483647 h 1111"/>
                <a:gd name="T116" fmla="*/ 2147483647 w 907"/>
                <a:gd name="T117" fmla="*/ 2147483647 h 111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07"/>
                <a:gd name="T178" fmla="*/ 0 h 1111"/>
                <a:gd name="T179" fmla="*/ 907 w 907"/>
                <a:gd name="T180" fmla="*/ 1111 h 111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07" h="1111">
                  <a:moveTo>
                    <a:pt x="79" y="771"/>
                  </a:moveTo>
                  <a:lnTo>
                    <a:pt x="79" y="765"/>
                  </a:lnTo>
                  <a:lnTo>
                    <a:pt x="85" y="759"/>
                  </a:lnTo>
                  <a:lnTo>
                    <a:pt x="79" y="759"/>
                  </a:lnTo>
                  <a:lnTo>
                    <a:pt x="73" y="759"/>
                  </a:lnTo>
                  <a:lnTo>
                    <a:pt x="68" y="759"/>
                  </a:lnTo>
                  <a:lnTo>
                    <a:pt x="62" y="748"/>
                  </a:lnTo>
                  <a:lnTo>
                    <a:pt x="45" y="737"/>
                  </a:lnTo>
                  <a:lnTo>
                    <a:pt x="28" y="725"/>
                  </a:lnTo>
                  <a:lnTo>
                    <a:pt x="28" y="720"/>
                  </a:lnTo>
                  <a:lnTo>
                    <a:pt x="22" y="714"/>
                  </a:lnTo>
                  <a:lnTo>
                    <a:pt x="17" y="714"/>
                  </a:lnTo>
                  <a:lnTo>
                    <a:pt x="0" y="697"/>
                  </a:lnTo>
                  <a:lnTo>
                    <a:pt x="0" y="686"/>
                  </a:lnTo>
                  <a:lnTo>
                    <a:pt x="5" y="669"/>
                  </a:lnTo>
                  <a:lnTo>
                    <a:pt x="11" y="657"/>
                  </a:lnTo>
                  <a:lnTo>
                    <a:pt x="17" y="635"/>
                  </a:lnTo>
                  <a:lnTo>
                    <a:pt x="17" y="606"/>
                  </a:lnTo>
                  <a:lnTo>
                    <a:pt x="22" y="589"/>
                  </a:lnTo>
                  <a:lnTo>
                    <a:pt x="28" y="584"/>
                  </a:lnTo>
                  <a:lnTo>
                    <a:pt x="28" y="572"/>
                  </a:lnTo>
                  <a:lnTo>
                    <a:pt x="34" y="567"/>
                  </a:lnTo>
                  <a:lnTo>
                    <a:pt x="34" y="561"/>
                  </a:lnTo>
                  <a:lnTo>
                    <a:pt x="39" y="555"/>
                  </a:lnTo>
                  <a:lnTo>
                    <a:pt x="51" y="550"/>
                  </a:lnTo>
                  <a:lnTo>
                    <a:pt x="56" y="538"/>
                  </a:lnTo>
                  <a:lnTo>
                    <a:pt x="62" y="538"/>
                  </a:lnTo>
                  <a:lnTo>
                    <a:pt x="68" y="533"/>
                  </a:lnTo>
                  <a:lnTo>
                    <a:pt x="62" y="521"/>
                  </a:lnTo>
                  <a:lnTo>
                    <a:pt x="62" y="516"/>
                  </a:lnTo>
                  <a:lnTo>
                    <a:pt x="56" y="510"/>
                  </a:lnTo>
                  <a:lnTo>
                    <a:pt x="51" y="504"/>
                  </a:lnTo>
                  <a:lnTo>
                    <a:pt x="45" y="504"/>
                  </a:lnTo>
                  <a:lnTo>
                    <a:pt x="45" y="499"/>
                  </a:lnTo>
                  <a:lnTo>
                    <a:pt x="45" y="493"/>
                  </a:lnTo>
                  <a:lnTo>
                    <a:pt x="45" y="482"/>
                  </a:lnTo>
                  <a:lnTo>
                    <a:pt x="45" y="476"/>
                  </a:lnTo>
                  <a:lnTo>
                    <a:pt x="45" y="470"/>
                  </a:lnTo>
                  <a:lnTo>
                    <a:pt x="56" y="465"/>
                  </a:lnTo>
                  <a:lnTo>
                    <a:pt x="62" y="459"/>
                  </a:lnTo>
                  <a:lnTo>
                    <a:pt x="62" y="453"/>
                  </a:lnTo>
                  <a:lnTo>
                    <a:pt x="62" y="448"/>
                  </a:lnTo>
                  <a:lnTo>
                    <a:pt x="56" y="436"/>
                  </a:lnTo>
                  <a:lnTo>
                    <a:pt x="56" y="425"/>
                  </a:lnTo>
                  <a:lnTo>
                    <a:pt x="51" y="419"/>
                  </a:lnTo>
                  <a:lnTo>
                    <a:pt x="51" y="408"/>
                  </a:lnTo>
                  <a:lnTo>
                    <a:pt x="51" y="397"/>
                  </a:lnTo>
                  <a:lnTo>
                    <a:pt x="51" y="391"/>
                  </a:lnTo>
                  <a:lnTo>
                    <a:pt x="51" y="380"/>
                  </a:lnTo>
                  <a:lnTo>
                    <a:pt x="51" y="374"/>
                  </a:lnTo>
                  <a:lnTo>
                    <a:pt x="56" y="363"/>
                  </a:lnTo>
                  <a:lnTo>
                    <a:pt x="56" y="351"/>
                  </a:lnTo>
                  <a:lnTo>
                    <a:pt x="56" y="346"/>
                  </a:lnTo>
                  <a:lnTo>
                    <a:pt x="56" y="329"/>
                  </a:lnTo>
                  <a:lnTo>
                    <a:pt x="56" y="317"/>
                  </a:lnTo>
                  <a:lnTo>
                    <a:pt x="56" y="306"/>
                  </a:lnTo>
                  <a:lnTo>
                    <a:pt x="56" y="295"/>
                  </a:lnTo>
                  <a:lnTo>
                    <a:pt x="56" y="289"/>
                  </a:lnTo>
                  <a:lnTo>
                    <a:pt x="56" y="283"/>
                  </a:lnTo>
                  <a:lnTo>
                    <a:pt x="56" y="272"/>
                  </a:lnTo>
                  <a:lnTo>
                    <a:pt x="51" y="266"/>
                  </a:lnTo>
                  <a:lnTo>
                    <a:pt x="51" y="261"/>
                  </a:lnTo>
                  <a:lnTo>
                    <a:pt x="62" y="255"/>
                  </a:lnTo>
                  <a:lnTo>
                    <a:pt x="68" y="249"/>
                  </a:lnTo>
                  <a:lnTo>
                    <a:pt x="73" y="244"/>
                  </a:lnTo>
                  <a:lnTo>
                    <a:pt x="79" y="238"/>
                  </a:lnTo>
                  <a:lnTo>
                    <a:pt x="85" y="232"/>
                  </a:lnTo>
                  <a:lnTo>
                    <a:pt x="90" y="232"/>
                  </a:lnTo>
                  <a:lnTo>
                    <a:pt x="102" y="221"/>
                  </a:lnTo>
                  <a:lnTo>
                    <a:pt x="113" y="210"/>
                  </a:lnTo>
                  <a:lnTo>
                    <a:pt x="119" y="210"/>
                  </a:lnTo>
                  <a:lnTo>
                    <a:pt x="119" y="204"/>
                  </a:lnTo>
                  <a:lnTo>
                    <a:pt x="130" y="198"/>
                  </a:lnTo>
                  <a:lnTo>
                    <a:pt x="136" y="198"/>
                  </a:lnTo>
                  <a:lnTo>
                    <a:pt x="136" y="193"/>
                  </a:lnTo>
                  <a:lnTo>
                    <a:pt x="153" y="181"/>
                  </a:lnTo>
                  <a:lnTo>
                    <a:pt x="158" y="176"/>
                  </a:lnTo>
                  <a:lnTo>
                    <a:pt x="170" y="164"/>
                  </a:lnTo>
                  <a:lnTo>
                    <a:pt x="170" y="159"/>
                  </a:lnTo>
                  <a:lnTo>
                    <a:pt x="181" y="142"/>
                  </a:lnTo>
                  <a:lnTo>
                    <a:pt x="181" y="136"/>
                  </a:lnTo>
                  <a:lnTo>
                    <a:pt x="187" y="130"/>
                  </a:lnTo>
                  <a:lnTo>
                    <a:pt x="192" y="125"/>
                  </a:lnTo>
                  <a:lnTo>
                    <a:pt x="198" y="119"/>
                  </a:lnTo>
                  <a:lnTo>
                    <a:pt x="198" y="113"/>
                  </a:lnTo>
                  <a:lnTo>
                    <a:pt x="204" y="108"/>
                  </a:lnTo>
                  <a:lnTo>
                    <a:pt x="215" y="90"/>
                  </a:lnTo>
                  <a:lnTo>
                    <a:pt x="215" y="85"/>
                  </a:lnTo>
                  <a:lnTo>
                    <a:pt x="221" y="68"/>
                  </a:lnTo>
                  <a:lnTo>
                    <a:pt x="221" y="62"/>
                  </a:lnTo>
                  <a:lnTo>
                    <a:pt x="226" y="51"/>
                  </a:lnTo>
                  <a:lnTo>
                    <a:pt x="226" y="39"/>
                  </a:lnTo>
                  <a:lnTo>
                    <a:pt x="226" y="22"/>
                  </a:lnTo>
                  <a:lnTo>
                    <a:pt x="226" y="17"/>
                  </a:lnTo>
                  <a:lnTo>
                    <a:pt x="226" y="5"/>
                  </a:lnTo>
                  <a:lnTo>
                    <a:pt x="249" y="5"/>
                  </a:lnTo>
                  <a:lnTo>
                    <a:pt x="255" y="5"/>
                  </a:lnTo>
                  <a:lnTo>
                    <a:pt x="260" y="5"/>
                  </a:lnTo>
                  <a:lnTo>
                    <a:pt x="272" y="5"/>
                  </a:lnTo>
                  <a:lnTo>
                    <a:pt x="277" y="5"/>
                  </a:lnTo>
                  <a:lnTo>
                    <a:pt x="283" y="5"/>
                  </a:lnTo>
                  <a:lnTo>
                    <a:pt x="283" y="0"/>
                  </a:lnTo>
                  <a:lnTo>
                    <a:pt x="289" y="0"/>
                  </a:lnTo>
                  <a:lnTo>
                    <a:pt x="294" y="0"/>
                  </a:lnTo>
                  <a:lnTo>
                    <a:pt x="300" y="0"/>
                  </a:lnTo>
                  <a:lnTo>
                    <a:pt x="300" y="5"/>
                  </a:lnTo>
                  <a:lnTo>
                    <a:pt x="300" y="11"/>
                  </a:lnTo>
                  <a:lnTo>
                    <a:pt x="306" y="11"/>
                  </a:lnTo>
                  <a:lnTo>
                    <a:pt x="306" y="17"/>
                  </a:lnTo>
                  <a:lnTo>
                    <a:pt x="311" y="17"/>
                  </a:lnTo>
                  <a:lnTo>
                    <a:pt x="317" y="17"/>
                  </a:lnTo>
                  <a:lnTo>
                    <a:pt x="317" y="22"/>
                  </a:lnTo>
                  <a:lnTo>
                    <a:pt x="323" y="22"/>
                  </a:lnTo>
                  <a:lnTo>
                    <a:pt x="328" y="22"/>
                  </a:lnTo>
                  <a:lnTo>
                    <a:pt x="328" y="28"/>
                  </a:lnTo>
                  <a:lnTo>
                    <a:pt x="334" y="28"/>
                  </a:lnTo>
                  <a:lnTo>
                    <a:pt x="334" y="34"/>
                  </a:lnTo>
                  <a:lnTo>
                    <a:pt x="334" y="39"/>
                  </a:lnTo>
                  <a:lnTo>
                    <a:pt x="340" y="39"/>
                  </a:lnTo>
                  <a:lnTo>
                    <a:pt x="345" y="39"/>
                  </a:lnTo>
                  <a:lnTo>
                    <a:pt x="351" y="45"/>
                  </a:lnTo>
                  <a:lnTo>
                    <a:pt x="362" y="45"/>
                  </a:lnTo>
                  <a:lnTo>
                    <a:pt x="368" y="51"/>
                  </a:lnTo>
                  <a:lnTo>
                    <a:pt x="374" y="51"/>
                  </a:lnTo>
                  <a:lnTo>
                    <a:pt x="379" y="51"/>
                  </a:lnTo>
                  <a:lnTo>
                    <a:pt x="385" y="51"/>
                  </a:lnTo>
                  <a:lnTo>
                    <a:pt x="391" y="56"/>
                  </a:lnTo>
                  <a:lnTo>
                    <a:pt x="396" y="56"/>
                  </a:lnTo>
                  <a:lnTo>
                    <a:pt x="402" y="62"/>
                  </a:lnTo>
                  <a:lnTo>
                    <a:pt x="402" y="68"/>
                  </a:lnTo>
                  <a:lnTo>
                    <a:pt x="408" y="68"/>
                  </a:lnTo>
                  <a:lnTo>
                    <a:pt x="413" y="68"/>
                  </a:lnTo>
                  <a:lnTo>
                    <a:pt x="419" y="68"/>
                  </a:lnTo>
                  <a:lnTo>
                    <a:pt x="425" y="62"/>
                  </a:lnTo>
                  <a:lnTo>
                    <a:pt x="430" y="62"/>
                  </a:lnTo>
                  <a:lnTo>
                    <a:pt x="430" y="56"/>
                  </a:lnTo>
                  <a:lnTo>
                    <a:pt x="430" y="51"/>
                  </a:lnTo>
                  <a:lnTo>
                    <a:pt x="436" y="51"/>
                  </a:lnTo>
                  <a:lnTo>
                    <a:pt x="442" y="45"/>
                  </a:lnTo>
                  <a:lnTo>
                    <a:pt x="447" y="39"/>
                  </a:lnTo>
                  <a:lnTo>
                    <a:pt x="453" y="39"/>
                  </a:lnTo>
                  <a:lnTo>
                    <a:pt x="459" y="39"/>
                  </a:lnTo>
                  <a:lnTo>
                    <a:pt x="459" y="45"/>
                  </a:lnTo>
                  <a:lnTo>
                    <a:pt x="459" y="51"/>
                  </a:lnTo>
                  <a:lnTo>
                    <a:pt x="459" y="56"/>
                  </a:lnTo>
                  <a:lnTo>
                    <a:pt x="459" y="62"/>
                  </a:lnTo>
                  <a:lnTo>
                    <a:pt x="447" y="68"/>
                  </a:lnTo>
                  <a:lnTo>
                    <a:pt x="447" y="73"/>
                  </a:lnTo>
                  <a:lnTo>
                    <a:pt x="447" y="79"/>
                  </a:lnTo>
                  <a:lnTo>
                    <a:pt x="447" y="85"/>
                  </a:lnTo>
                  <a:lnTo>
                    <a:pt x="447" y="90"/>
                  </a:lnTo>
                  <a:lnTo>
                    <a:pt x="447" y="96"/>
                  </a:lnTo>
                  <a:lnTo>
                    <a:pt x="442" y="102"/>
                  </a:lnTo>
                  <a:lnTo>
                    <a:pt x="442" y="108"/>
                  </a:lnTo>
                  <a:lnTo>
                    <a:pt x="436" y="108"/>
                  </a:lnTo>
                  <a:lnTo>
                    <a:pt x="436" y="113"/>
                  </a:lnTo>
                  <a:lnTo>
                    <a:pt x="436" y="119"/>
                  </a:lnTo>
                  <a:lnTo>
                    <a:pt x="436" y="125"/>
                  </a:lnTo>
                  <a:lnTo>
                    <a:pt x="442" y="125"/>
                  </a:lnTo>
                  <a:lnTo>
                    <a:pt x="447" y="130"/>
                  </a:lnTo>
                  <a:lnTo>
                    <a:pt x="447" y="136"/>
                  </a:lnTo>
                  <a:lnTo>
                    <a:pt x="459" y="147"/>
                  </a:lnTo>
                  <a:lnTo>
                    <a:pt x="459" y="159"/>
                  </a:lnTo>
                  <a:lnTo>
                    <a:pt x="459" y="170"/>
                  </a:lnTo>
                  <a:lnTo>
                    <a:pt x="459" y="181"/>
                  </a:lnTo>
                  <a:lnTo>
                    <a:pt x="459" y="193"/>
                  </a:lnTo>
                  <a:lnTo>
                    <a:pt x="453" y="198"/>
                  </a:lnTo>
                  <a:lnTo>
                    <a:pt x="447" y="204"/>
                  </a:lnTo>
                  <a:lnTo>
                    <a:pt x="447" y="210"/>
                  </a:lnTo>
                  <a:lnTo>
                    <a:pt x="447" y="221"/>
                  </a:lnTo>
                  <a:lnTo>
                    <a:pt x="459" y="232"/>
                  </a:lnTo>
                  <a:lnTo>
                    <a:pt x="459" y="249"/>
                  </a:lnTo>
                  <a:lnTo>
                    <a:pt x="459" y="261"/>
                  </a:lnTo>
                  <a:lnTo>
                    <a:pt x="459" y="278"/>
                  </a:lnTo>
                  <a:lnTo>
                    <a:pt x="459" y="289"/>
                  </a:lnTo>
                  <a:lnTo>
                    <a:pt x="459" y="300"/>
                  </a:lnTo>
                  <a:lnTo>
                    <a:pt x="453" y="306"/>
                  </a:lnTo>
                  <a:lnTo>
                    <a:pt x="447" y="306"/>
                  </a:lnTo>
                  <a:lnTo>
                    <a:pt x="447" y="300"/>
                  </a:lnTo>
                  <a:lnTo>
                    <a:pt x="436" y="295"/>
                  </a:lnTo>
                  <a:lnTo>
                    <a:pt x="430" y="289"/>
                  </a:lnTo>
                  <a:lnTo>
                    <a:pt x="419" y="295"/>
                  </a:lnTo>
                  <a:lnTo>
                    <a:pt x="408" y="300"/>
                  </a:lnTo>
                  <a:lnTo>
                    <a:pt x="402" y="300"/>
                  </a:lnTo>
                  <a:lnTo>
                    <a:pt x="391" y="306"/>
                  </a:lnTo>
                  <a:lnTo>
                    <a:pt x="385" y="317"/>
                  </a:lnTo>
                  <a:lnTo>
                    <a:pt x="379" y="317"/>
                  </a:lnTo>
                  <a:lnTo>
                    <a:pt x="379" y="329"/>
                  </a:lnTo>
                  <a:lnTo>
                    <a:pt x="379" y="346"/>
                  </a:lnTo>
                  <a:lnTo>
                    <a:pt x="379" y="357"/>
                  </a:lnTo>
                  <a:lnTo>
                    <a:pt x="379" y="374"/>
                  </a:lnTo>
                  <a:lnTo>
                    <a:pt x="379" y="391"/>
                  </a:lnTo>
                  <a:lnTo>
                    <a:pt x="379" y="408"/>
                  </a:lnTo>
                  <a:lnTo>
                    <a:pt x="379" y="419"/>
                  </a:lnTo>
                  <a:lnTo>
                    <a:pt x="379" y="442"/>
                  </a:lnTo>
                  <a:lnTo>
                    <a:pt x="379" y="459"/>
                  </a:lnTo>
                  <a:lnTo>
                    <a:pt x="374" y="482"/>
                  </a:lnTo>
                  <a:lnTo>
                    <a:pt x="368" y="493"/>
                  </a:lnTo>
                  <a:lnTo>
                    <a:pt x="362" y="516"/>
                  </a:lnTo>
                  <a:lnTo>
                    <a:pt x="362" y="538"/>
                  </a:lnTo>
                  <a:lnTo>
                    <a:pt x="357" y="550"/>
                  </a:lnTo>
                  <a:lnTo>
                    <a:pt x="351" y="561"/>
                  </a:lnTo>
                  <a:lnTo>
                    <a:pt x="351" y="567"/>
                  </a:lnTo>
                  <a:lnTo>
                    <a:pt x="345" y="572"/>
                  </a:lnTo>
                  <a:lnTo>
                    <a:pt x="351" y="589"/>
                  </a:lnTo>
                  <a:lnTo>
                    <a:pt x="351" y="595"/>
                  </a:lnTo>
                  <a:lnTo>
                    <a:pt x="362" y="601"/>
                  </a:lnTo>
                  <a:lnTo>
                    <a:pt x="368" y="606"/>
                  </a:lnTo>
                  <a:lnTo>
                    <a:pt x="374" y="606"/>
                  </a:lnTo>
                  <a:lnTo>
                    <a:pt x="379" y="606"/>
                  </a:lnTo>
                  <a:lnTo>
                    <a:pt x="385" y="606"/>
                  </a:lnTo>
                  <a:lnTo>
                    <a:pt x="385" y="601"/>
                  </a:lnTo>
                  <a:lnTo>
                    <a:pt x="391" y="601"/>
                  </a:lnTo>
                  <a:lnTo>
                    <a:pt x="391" y="595"/>
                  </a:lnTo>
                  <a:lnTo>
                    <a:pt x="391" y="589"/>
                  </a:lnTo>
                  <a:lnTo>
                    <a:pt x="396" y="584"/>
                  </a:lnTo>
                  <a:lnTo>
                    <a:pt x="402" y="578"/>
                  </a:lnTo>
                  <a:lnTo>
                    <a:pt x="408" y="572"/>
                  </a:lnTo>
                  <a:lnTo>
                    <a:pt x="419" y="572"/>
                  </a:lnTo>
                  <a:lnTo>
                    <a:pt x="425" y="567"/>
                  </a:lnTo>
                  <a:lnTo>
                    <a:pt x="430" y="567"/>
                  </a:lnTo>
                  <a:lnTo>
                    <a:pt x="436" y="567"/>
                  </a:lnTo>
                  <a:lnTo>
                    <a:pt x="447" y="567"/>
                  </a:lnTo>
                  <a:lnTo>
                    <a:pt x="447" y="561"/>
                  </a:lnTo>
                  <a:lnTo>
                    <a:pt x="453" y="561"/>
                  </a:lnTo>
                  <a:lnTo>
                    <a:pt x="453" y="555"/>
                  </a:lnTo>
                  <a:lnTo>
                    <a:pt x="459" y="555"/>
                  </a:lnTo>
                  <a:lnTo>
                    <a:pt x="464" y="555"/>
                  </a:lnTo>
                  <a:lnTo>
                    <a:pt x="464" y="550"/>
                  </a:lnTo>
                  <a:lnTo>
                    <a:pt x="470" y="550"/>
                  </a:lnTo>
                  <a:lnTo>
                    <a:pt x="476" y="544"/>
                  </a:lnTo>
                  <a:lnTo>
                    <a:pt x="481" y="544"/>
                  </a:lnTo>
                  <a:lnTo>
                    <a:pt x="487" y="544"/>
                  </a:lnTo>
                  <a:lnTo>
                    <a:pt x="493" y="550"/>
                  </a:lnTo>
                  <a:lnTo>
                    <a:pt x="504" y="550"/>
                  </a:lnTo>
                  <a:lnTo>
                    <a:pt x="504" y="544"/>
                  </a:lnTo>
                  <a:lnTo>
                    <a:pt x="510" y="544"/>
                  </a:lnTo>
                  <a:lnTo>
                    <a:pt x="510" y="550"/>
                  </a:lnTo>
                  <a:lnTo>
                    <a:pt x="510" y="555"/>
                  </a:lnTo>
                  <a:lnTo>
                    <a:pt x="516" y="555"/>
                  </a:lnTo>
                  <a:lnTo>
                    <a:pt x="521" y="555"/>
                  </a:lnTo>
                  <a:lnTo>
                    <a:pt x="527" y="555"/>
                  </a:lnTo>
                  <a:lnTo>
                    <a:pt x="533" y="555"/>
                  </a:lnTo>
                  <a:lnTo>
                    <a:pt x="533" y="550"/>
                  </a:lnTo>
                  <a:lnTo>
                    <a:pt x="550" y="550"/>
                  </a:lnTo>
                  <a:lnTo>
                    <a:pt x="555" y="550"/>
                  </a:lnTo>
                  <a:lnTo>
                    <a:pt x="555" y="555"/>
                  </a:lnTo>
                  <a:lnTo>
                    <a:pt x="561" y="555"/>
                  </a:lnTo>
                  <a:lnTo>
                    <a:pt x="561" y="561"/>
                  </a:lnTo>
                  <a:lnTo>
                    <a:pt x="561" y="567"/>
                  </a:lnTo>
                  <a:lnTo>
                    <a:pt x="567" y="567"/>
                  </a:lnTo>
                  <a:lnTo>
                    <a:pt x="572" y="567"/>
                  </a:lnTo>
                  <a:lnTo>
                    <a:pt x="572" y="561"/>
                  </a:lnTo>
                  <a:lnTo>
                    <a:pt x="578" y="567"/>
                  </a:lnTo>
                  <a:lnTo>
                    <a:pt x="589" y="561"/>
                  </a:lnTo>
                  <a:lnTo>
                    <a:pt x="595" y="555"/>
                  </a:lnTo>
                  <a:lnTo>
                    <a:pt x="601" y="555"/>
                  </a:lnTo>
                  <a:lnTo>
                    <a:pt x="606" y="555"/>
                  </a:lnTo>
                  <a:lnTo>
                    <a:pt x="606" y="550"/>
                  </a:lnTo>
                  <a:lnTo>
                    <a:pt x="606" y="544"/>
                  </a:lnTo>
                  <a:lnTo>
                    <a:pt x="606" y="538"/>
                  </a:lnTo>
                  <a:lnTo>
                    <a:pt x="612" y="538"/>
                  </a:lnTo>
                  <a:lnTo>
                    <a:pt x="618" y="538"/>
                  </a:lnTo>
                  <a:lnTo>
                    <a:pt x="623" y="538"/>
                  </a:lnTo>
                  <a:lnTo>
                    <a:pt x="623" y="544"/>
                  </a:lnTo>
                  <a:lnTo>
                    <a:pt x="629" y="544"/>
                  </a:lnTo>
                  <a:lnTo>
                    <a:pt x="635" y="544"/>
                  </a:lnTo>
                  <a:lnTo>
                    <a:pt x="640" y="544"/>
                  </a:lnTo>
                  <a:lnTo>
                    <a:pt x="646" y="544"/>
                  </a:lnTo>
                  <a:lnTo>
                    <a:pt x="646" y="538"/>
                  </a:lnTo>
                  <a:lnTo>
                    <a:pt x="652" y="538"/>
                  </a:lnTo>
                  <a:lnTo>
                    <a:pt x="657" y="538"/>
                  </a:lnTo>
                  <a:lnTo>
                    <a:pt x="663" y="538"/>
                  </a:lnTo>
                  <a:lnTo>
                    <a:pt x="663" y="544"/>
                  </a:lnTo>
                  <a:lnTo>
                    <a:pt x="669" y="550"/>
                  </a:lnTo>
                  <a:lnTo>
                    <a:pt x="674" y="555"/>
                  </a:lnTo>
                  <a:lnTo>
                    <a:pt x="674" y="561"/>
                  </a:lnTo>
                  <a:lnTo>
                    <a:pt x="674" y="567"/>
                  </a:lnTo>
                  <a:lnTo>
                    <a:pt x="680" y="567"/>
                  </a:lnTo>
                  <a:lnTo>
                    <a:pt x="680" y="572"/>
                  </a:lnTo>
                  <a:lnTo>
                    <a:pt x="680" y="567"/>
                  </a:lnTo>
                  <a:lnTo>
                    <a:pt x="686" y="567"/>
                  </a:lnTo>
                  <a:lnTo>
                    <a:pt x="691" y="567"/>
                  </a:lnTo>
                  <a:lnTo>
                    <a:pt x="703" y="567"/>
                  </a:lnTo>
                  <a:lnTo>
                    <a:pt x="703" y="572"/>
                  </a:lnTo>
                  <a:lnTo>
                    <a:pt x="708" y="572"/>
                  </a:lnTo>
                  <a:lnTo>
                    <a:pt x="714" y="578"/>
                  </a:lnTo>
                  <a:lnTo>
                    <a:pt x="714" y="584"/>
                  </a:lnTo>
                  <a:lnTo>
                    <a:pt x="720" y="584"/>
                  </a:lnTo>
                  <a:lnTo>
                    <a:pt x="720" y="589"/>
                  </a:lnTo>
                  <a:lnTo>
                    <a:pt x="725" y="589"/>
                  </a:lnTo>
                  <a:lnTo>
                    <a:pt x="731" y="584"/>
                  </a:lnTo>
                  <a:lnTo>
                    <a:pt x="737" y="584"/>
                  </a:lnTo>
                  <a:lnTo>
                    <a:pt x="742" y="584"/>
                  </a:lnTo>
                  <a:lnTo>
                    <a:pt x="748" y="578"/>
                  </a:lnTo>
                  <a:lnTo>
                    <a:pt x="754" y="578"/>
                  </a:lnTo>
                  <a:lnTo>
                    <a:pt x="754" y="584"/>
                  </a:lnTo>
                  <a:lnTo>
                    <a:pt x="759" y="584"/>
                  </a:lnTo>
                  <a:lnTo>
                    <a:pt x="759" y="578"/>
                  </a:lnTo>
                  <a:lnTo>
                    <a:pt x="765" y="578"/>
                  </a:lnTo>
                  <a:lnTo>
                    <a:pt x="765" y="584"/>
                  </a:lnTo>
                  <a:lnTo>
                    <a:pt x="771" y="584"/>
                  </a:lnTo>
                  <a:lnTo>
                    <a:pt x="776" y="584"/>
                  </a:lnTo>
                  <a:lnTo>
                    <a:pt x="782" y="578"/>
                  </a:lnTo>
                  <a:lnTo>
                    <a:pt x="788" y="584"/>
                  </a:lnTo>
                  <a:lnTo>
                    <a:pt x="793" y="584"/>
                  </a:lnTo>
                  <a:lnTo>
                    <a:pt x="793" y="578"/>
                  </a:lnTo>
                  <a:lnTo>
                    <a:pt x="799" y="572"/>
                  </a:lnTo>
                  <a:lnTo>
                    <a:pt x="805" y="572"/>
                  </a:lnTo>
                  <a:lnTo>
                    <a:pt x="810" y="572"/>
                  </a:lnTo>
                  <a:lnTo>
                    <a:pt x="816" y="572"/>
                  </a:lnTo>
                  <a:lnTo>
                    <a:pt x="822" y="572"/>
                  </a:lnTo>
                  <a:lnTo>
                    <a:pt x="827" y="572"/>
                  </a:lnTo>
                  <a:lnTo>
                    <a:pt x="833" y="578"/>
                  </a:lnTo>
                  <a:lnTo>
                    <a:pt x="833" y="584"/>
                  </a:lnTo>
                  <a:lnTo>
                    <a:pt x="839" y="584"/>
                  </a:lnTo>
                  <a:lnTo>
                    <a:pt x="844" y="584"/>
                  </a:lnTo>
                  <a:lnTo>
                    <a:pt x="844" y="589"/>
                  </a:lnTo>
                  <a:lnTo>
                    <a:pt x="850" y="595"/>
                  </a:lnTo>
                  <a:lnTo>
                    <a:pt x="856" y="601"/>
                  </a:lnTo>
                  <a:lnTo>
                    <a:pt x="861" y="623"/>
                  </a:lnTo>
                  <a:lnTo>
                    <a:pt x="861" y="629"/>
                  </a:lnTo>
                  <a:lnTo>
                    <a:pt x="856" y="635"/>
                  </a:lnTo>
                  <a:lnTo>
                    <a:pt x="856" y="640"/>
                  </a:lnTo>
                  <a:lnTo>
                    <a:pt x="850" y="652"/>
                  </a:lnTo>
                  <a:lnTo>
                    <a:pt x="850" y="657"/>
                  </a:lnTo>
                  <a:lnTo>
                    <a:pt x="844" y="657"/>
                  </a:lnTo>
                  <a:lnTo>
                    <a:pt x="844" y="663"/>
                  </a:lnTo>
                  <a:lnTo>
                    <a:pt x="850" y="663"/>
                  </a:lnTo>
                  <a:lnTo>
                    <a:pt x="856" y="669"/>
                  </a:lnTo>
                  <a:lnTo>
                    <a:pt x="861" y="669"/>
                  </a:lnTo>
                  <a:lnTo>
                    <a:pt x="867" y="669"/>
                  </a:lnTo>
                  <a:lnTo>
                    <a:pt x="873" y="669"/>
                  </a:lnTo>
                  <a:lnTo>
                    <a:pt x="878" y="674"/>
                  </a:lnTo>
                  <a:lnTo>
                    <a:pt x="878" y="680"/>
                  </a:lnTo>
                  <a:lnTo>
                    <a:pt x="884" y="680"/>
                  </a:lnTo>
                  <a:lnTo>
                    <a:pt x="890" y="680"/>
                  </a:lnTo>
                  <a:lnTo>
                    <a:pt x="890" y="686"/>
                  </a:lnTo>
                  <a:lnTo>
                    <a:pt x="890" y="691"/>
                  </a:lnTo>
                  <a:lnTo>
                    <a:pt x="890" y="697"/>
                  </a:lnTo>
                  <a:lnTo>
                    <a:pt x="895" y="697"/>
                  </a:lnTo>
                  <a:lnTo>
                    <a:pt x="895" y="703"/>
                  </a:lnTo>
                  <a:lnTo>
                    <a:pt x="901" y="708"/>
                  </a:lnTo>
                  <a:lnTo>
                    <a:pt x="901" y="720"/>
                  </a:lnTo>
                  <a:lnTo>
                    <a:pt x="901" y="725"/>
                  </a:lnTo>
                  <a:lnTo>
                    <a:pt x="901" y="737"/>
                  </a:lnTo>
                  <a:lnTo>
                    <a:pt x="901" y="742"/>
                  </a:lnTo>
                  <a:lnTo>
                    <a:pt x="901" y="748"/>
                  </a:lnTo>
                  <a:lnTo>
                    <a:pt x="901" y="754"/>
                  </a:lnTo>
                  <a:lnTo>
                    <a:pt x="901" y="759"/>
                  </a:lnTo>
                  <a:lnTo>
                    <a:pt x="901" y="765"/>
                  </a:lnTo>
                  <a:lnTo>
                    <a:pt x="907" y="771"/>
                  </a:lnTo>
                  <a:lnTo>
                    <a:pt x="901" y="771"/>
                  </a:lnTo>
                  <a:lnTo>
                    <a:pt x="895" y="771"/>
                  </a:lnTo>
                  <a:lnTo>
                    <a:pt x="895" y="776"/>
                  </a:lnTo>
                  <a:lnTo>
                    <a:pt x="890" y="776"/>
                  </a:lnTo>
                  <a:lnTo>
                    <a:pt x="884" y="782"/>
                  </a:lnTo>
                  <a:lnTo>
                    <a:pt x="878" y="788"/>
                  </a:lnTo>
                  <a:lnTo>
                    <a:pt x="873" y="788"/>
                  </a:lnTo>
                  <a:lnTo>
                    <a:pt x="873" y="793"/>
                  </a:lnTo>
                  <a:lnTo>
                    <a:pt x="867" y="793"/>
                  </a:lnTo>
                  <a:lnTo>
                    <a:pt x="861" y="793"/>
                  </a:lnTo>
                  <a:lnTo>
                    <a:pt x="861" y="799"/>
                  </a:lnTo>
                  <a:lnTo>
                    <a:pt x="856" y="799"/>
                  </a:lnTo>
                  <a:lnTo>
                    <a:pt x="850" y="805"/>
                  </a:lnTo>
                  <a:lnTo>
                    <a:pt x="844" y="805"/>
                  </a:lnTo>
                  <a:lnTo>
                    <a:pt x="827" y="810"/>
                  </a:lnTo>
                  <a:lnTo>
                    <a:pt x="810" y="816"/>
                  </a:lnTo>
                  <a:lnTo>
                    <a:pt x="805" y="816"/>
                  </a:lnTo>
                  <a:lnTo>
                    <a:pt x="793" y="816"/>
                  </a:lnTo>
                  <a:lnTo>
                    <a:pt x="788" y="816"/>
                  </a:lnTo>
                  <a:lnTo>
                    <a:pt x="771" y="816"/>
                  </a:lnTo>
                  <a:lnTo>
                    <a:pt x="754" y="816"/>
                  </a:lnTo>
                  <a:lnTo>
                    <a:pt x="742" y="816"/>
                  </a:lnTo>
                  <a:lnTo>
                    <a:pt x="731" y="816"/>
                  </a:lnTo>
                  <a:lnTo>
                    <a:pt x="720" y="810"/>
                  </a:lnTo>
                  <a:lnTo>
                    <a:pt x="714" y="810"/>
                  </a:lnTo>
                  <a:lnTo>
                    <a:pt x="714" y="805"/>
                  </a:lnTo>
                  <a:lnTo>
                    <a:pt x="708" y="805"/>
                  </a:lnTo>
                  <a:lnTo>
                    <a:pt x="703" y="805"/>
                  </a:lnTo>
                  <a:lnTo>
                    <a:pt x="697" y="799"/>
                  </a:lnTo>
                  <a:lnTo>
                    <a:pt x="691" y="799"/>
                  </a:lnTo>
                  <a:lnTo>
                    <a:pt x="691" y="793"/>
                  </a:lnTo>
                  <a:lnTo>
                    <a:pt x="680" y="788"/>
                  </a:lnTo>
                  <a:lnTo>
                    <a:pt x="680" y="776"/>
                  </a:lnTo>
                  <a:lnTo>
                    <a:pt x="674" y="771"/>
                  </a:lnTo>
                  <a:lnTo>
                    <a:pt x="674" y="759"/>
                  </a:lnTo>
                  <a:lnTo>
                    <a:pt x="674" y="748"/>
                  </a:lnTo>
                  <a:lnTo>
                    <a:pt x="669" y="737"/>
                  </a:lnTo>
                  <a:lnTo>
                    <a:pt x="669" y="731"/>
                  </a:lnTo>
                  <a:lnTo>
                    <a:pt x="663" y="725"/>
                  </a:lnTo>
                  <a:lnTo>
                    <a:pt x="663" y="720"/>
                  </a:lnTo>
                  <a:lnTo>
                    <a:pt x="663" y="714"/>
                  </a:lnTo>
                  <a:lnTo>
                    <a:pt x="663" y="708"/>
                  </a:lnTo>
                  <a:lnTo>
                    <a:pt x="657" y="697"/>
                  </a:lnTo>
                  <a:lnTo>
                    <a:pt x="652" y="697"/>
                  </a:lnTo>
                  <a:lnTo>
                    <a:pt x="652" y="691"/>
                  </a:lnTo>
                  <a:lnTo>
                    <a:pt x="646" y="686"/>
                  </a:lnTo>
                  <a:lnTo>
                    <a:pt x="640" y="686"/>
                  </a:lnTo>
                  <a:lnTo>
                    <a:pt x="635" y="680"/>
                  </a:lnTo>
                  <a:lnTo>
                    <a:pt x="629" y="680"/>
                  </a:lnTo>
                  <a:lnTo>
                    <a:pt x="618" y="680"/>
                  </a:lnTo>
                  <a:lnTo>
                    <a:pt x="612" y="680"/>
                  </a:lnTo>
                  <a:lnTo>
                    <a:pt x="606" y="680"/>
                  </a:lnTo>
                  <a:lnTo>
                    <a:pt x="601" y="680"/>
                  </a:lnTo>
                  <a:lnTo>
                    <a:pt x="589" y="680"/>
                  </a:lnTo>
                  <a:lnTo>
                    <a:pt x="567" y="680"/>
                  </a:lnTo>
                  <a:lnTo>
                    <a:pt x="561" y="680"/>
                  </a:lnTo>
                  <a:lnTo>
                    <a:pt x="550" y="686"/>
                  </a:lnTo>
                  <a:lnTo>
                    <a:pt x="538" y="686"/>
                  </a:lnTo>
                  <a:lnTo>
                    <a:pt x="533" y="691"/>
                  </a:lnTo>
                  <a:lnTo>
                    <a:pt x="504" y="691"/>
                  </a:lnTo>
                  <a:lnTo>
                    <a:pt x="493" y="691"/>
                  </a:lnTo>
                  <a:lnTo>
                    <a:pt x="493" y="697"/>
                  </a:lnTo>
                  <a:lnTo>
                    <a:pt x="487" y="697"/>
                  </a:lnTo>
                  <a:lnTo>
                    <a:pt x="481" y="697"/>
                  </a:lnTo>
                  <a:lnTo>
                    <a:pt x="476" y="697"/>
                  </a:lnTo>
                  <a:lnTo>
                    <a:pt x="476" y="703"/>
                  </a:lnTo>
                  <a:lnTo>
                    <a:pt x="470" y="703"/>
                  </a:lnTo>
                  <a:lnTo>
                    <a:pt x="470" y="708"/>
                  </a:lnTo>
                  <a:lnTo>
                    <a:pt x="464" y="708"/>
                  </a:lnTo>
                  <a:lnTo>
                    <a:pt x="459" y="708"/>
                  </a:lnTo>
                  <a:lnTo>
                    <a:pt x="453" y="714"/>
                  </a:lnTo>
                  <a:lnTo>
                    <a:pt x="447" y="714"/>
                  </a:lnTo>
                  <a:lnTo>
                    <a:pt x="447" y="720"/>
                  </a:lnTo>
                  <a:lnTo>
                    <a:pt x="447" y="725"/>
                  </a:lnTo>
                  <a:lnTo>
                    <a:pt x="447" y="731"/>
                  </a:lnTo>
                  <a:lnTo>
                    <a:pt x="453" y="731"/>
                  </a:lnTo>
                  <a:lnTo>
                    <a:pt x="453" y="737"/>
                  </a:lnTo>
                  <a:lnTo>
                    <a:pt x="464" y="737"/>
                  </a:lnTo>
                  <a:lnTo>
                    <a:pt x="464" y="742"/>
                  </a:lnTo>
                  <a:lnTo>
                    <a:pt x="470" y="748"/>
                  </a:lnTo>
                  <a:lnTo>
                    <a:pt x="476" y="748"/>
                  </a:lnTo>
                  <a:lnTo>
                    <a:pt x="481" y="754"/>
                  </a:lnTo>
                  <a:lnTo>
                    <a:pt x="487" y="759"/>
                  </a:lnTo>
                  <a:lnTo>
                    <a:pt x="493" y="759"/>
                  </a:lnTo>
                  <a:lnTo>
                    <a:pt x="499" y="759"/>
                  </a:lnTo>
                  <a:lnTo>
                    <a:pt x="504" y="765"/>
                  </a:lnTo>
                  <a:lnTo>
                    <a:pt x="510" y="771"/>
                  </a:lnTo>
                  <a:lnTo>
                    <a:pt x="510" y="776"/>
                  </a:lnTo>
                  <a:lnTo>
                    <a:pt x="516" y="776"/>
                  </a:lnTo>
                  <a:lnTo>
                    <a:pt x="521" y="776"/>
                  </a:lnTo>
                  <a:lnTo>
                    <a:pt x="533" y="776"/>
                  </a:lnTo>
                  <a:lnTo>
                    <a:pt x="544" y="776"/>
                  </a:lnTo>
                  <a:lnTo>
                    <a:pt x="550" y="776"/>
                  </a:lnTo>
                  <a:lnTo>
                    <a:pt x="550" y="782"/>
                  </a:lnTo>
                  <a:lnTo>
                    <a:pt x="555" y="782"/>
                  </a:lnTo>
                  <a:lnTo>
                    <a:pt x="555" y="788"/>
                  </a:lnTo>
                  <a:lnTo>
                    <a:pt x="561" y="788"/>
                  </a:lnTo>
                  <a:lnTo>
                    <a:pt x="561" y="793"/>
                  </a:lnTo>
                  <a:lnTo>
                    <a:pt x="561" y="805"/>
                  </a:lnTo>
                  <a:lnTo>
                    <a:pt x="567" y="816"/>
                  </a:lnTo>
                  <a:lnTo>
                    <a:pt x="567" y="822"/>
                  </a:lnTo>
                  <a:lnTo>
                    <a:pt x="567" y="827"/>
                  </a:lnTo>
                  <a:lnTo>
                    <a:pt x="561" y="833"/>
                  </a:lnTo>
                  <a:lnTo>
                    <a:pt x="561" y="844"/>
                  </a:lnTo>
                  <a:lnTo>
                    <a:pt x="555" y="844"/>
                  </a:lnTo>
                  <a:lnTo>
                    <a:pt x="550" y="844"/>
                  </a:lnTo>
                  <a:lnTo>
                    <a:pt x="550" y="850"/>
                  </a:lnTo>
                  <a:lnTo>
                    <a:pt x="555" y="850"/>
                  </a:lnTo>
                  <a:lnTo>
                    <a:pt x="555" y="856"/>
                  </a:lnTo>
                  <a:lnTo>
                    <a:pt x="561" y="856"/>
                  </a:lnTo>
                  <a:lnTo>
                    <a:pt x="567" y="856"/>
                  </a:lnTo>
                  <a:lnTo>
                    <a:pt x="567" y="861"/>
                  </a:lnTo>
                  <a:lnTo>
                    <a:pt x="572" y="861"/>
                  </a:lnTo>
                  <a:lnTo>
                    <a:pt x="578" y="861"/>
                  </a:lnTo>
                  <a:lnTo>
                    <a:pt x="584" y="867"/>
                  </a:lnTo>
                  <a:lnTo>
                    <a:pt x="584" y="873"/>
                  </a:lnTo>
                  <a:lnTo>
                    <a:pt x="584" y="878"/>
                  </a:lnTo>
                  <a:lnTo>
                    <a:pt x="578" y="878"/>
                  </a:lnTo>
                  <a:lnTo>
                    <a:pt x="578" y="884"/>
                  </a:lnTo>
                  <a:lnTo>
                    <a:pt x="567" y="890"/>
                  </a:lnTo>
                  <a:lnTo>
                    <a:pt x="555" y="890"/>
                  </a:lnTo>
                  <a:lnTo>
                    <a:pt x="550" y="890"/>
                  </a:lnTo>
                  <a:lnTo>
                    <a:pt x="544" y="895"/>
                  </a:lnTo>
                  <a:lnTo>
                    <a:pt x="538" y="895"/>
                  </a:lnTo>
                  <a:lnTo>
                    <a:pt x="538" y="901"/>
                  </a:lnTo>
                  <a:lnTo>
                    <a:pt x="533" y="901"/>
                  </a:lnTo>
                  <a:lnTo>
                    <a:pt x="521" y="901"/>
                  </a:lnTo>
                  <a:lnTo>
                    <a:pt x="510" y="907"/>
                  </a:lnTo>
                  <a:lnTo>
                    <a:pt x="499" y="907"/>
                  </a:lnTo>
                  <a:lnTo>
                    <a:pt x="493" y="901"/>
                  </a:lnTo>
                  <a:lnTo>
                    <a:pt x="487" y="901"/>
                  </a:lnTo>
                  <a:lnTo>
                    <a:pt x="481" y="901"/>
                  </a:lnTo>
                  <a:lnTo>
                    <a:pt x="476" y="895"/>
                  </a:lnTo>
                  <a:lnTo>
                    <a:pt x="470" y="895"/>
                  </a:lnTo>
                  <a:lnTo>
                    <a:pt x="470" y="901"/>
                  </a:lnTo>
                  <a:lnTo>
                    <a:pt x="470" y="912"/>
                  </a:lnTo>
                  <a:lnTo>
                    <a:pt x="470" y="924"/>
                  </a:lnTo>
                  <a:lnTo>
                    <a:pt x="476" y="935"/>
                  </a:lnTo>
                  <a:lnTo>
                    <a:pt x="481" y="941"/>
                  </a:lnTo>
                  <a:lnTo>
                    <a:pt x="481" y="946"/>
                  </a:lnTo>
                  <a:lnTo>
                    <a:pt x="481" y="958"/>
                  </a:lnTo>
                  <a:lnTo>
                    <a:pt x="481" y="969"/>
                  </a:lnTo>
                  <a:lnTo>
                    <a:pt x="481" y="980"/>
                  </a:lnTo>
                  <a:lnTo>
                    <a:pt x="481" y="986"/>
                  </a:lnTo>
                  <a:lnTo>
                    <a:pt x="481" y="992"/>
                  </a:lnTo>
                  <a:lnTo>
                    <a:pt x="481" y="997"/>
                  </a:lnTo>
                  <a:lnTo>
                    <a:pt x="487" y="997"/>
                  </a:lnTo>
                  <a:lnTo>
                    <a:pt x="493" y="997"/>
                  </a:lnTo>
                  <a:lnTo>
                    <a:pt x="493" y="1003"/>
                  </a:lnTo>
                  <a:lnTo>
                    <a:pt x="499" y="1003"/>
                  </a:lnTo>
                  <a:lnTo>
                    <a:pt x="499" y="1009"/>
                  </a:lnTo>
                  <a:lnTo>
                    <a:pt x="499" y="1020"/>
                  </a:lnTo>
                  <a:lnTo>
                    <a:pt x="504" y="1026"/>
                  </a:lnTo>
                  <a:lnTo>
                    <a:pt x="510" y="1026"/>
                  </a:lnTo>
                  <a:lnTo>
                    <a:pt x="510" y="1032"/>
                  </a:lnTo>
                  <a:lnTo>
                    <a:pt x="510" y="1037"/>
                  </a:lnTo>
                  <a:lnTo>
                    <a:pt x="510" y="1043"/>
                  </a:lnTo>
                  <a:lnTo>
                    <a:pt x="510" y="1049"/>
                  </a:lnTo>
                  <a:lnTo>
                    <a:pt x="510" y="1054"/>
                  </a:lnTo>
                  <a:lnTo>
                    <a:pt x="504" y="1060"/>
                  </a:lnTo>
                  <a:lnTo>
                    <a:pt x="499" y="1060"/>
                  </a:lnTo>
                  <a:lnTo>
                    <a:pt x="499" y="1066"/>
                  </a:lnTo>
                  <a:lnTo>
                    <a:pt x="493" y="1066"/>
                  </a:lnTo>
                  <a:lnTo>
                    <a:pt x="487" y="1066"/>
                  </a:lnTo>
                  <a:lnTo>
                    <a:pt x="481" y="1066"/>
                  </a:lnTo>
                  <a:lnTo>
                    <a:pt x="476" y="1066"/>
                  </a:lnTo>
                  <a:lnTo>
                    <a:pt x="470" y="1066"/>
                  </a:lnTo>
                  <a:lnTo>
                    <a:pt x="464" y="1066"/>
                  </a:lnTo>
                  <a:lnTo>
                    <a:pt x="459" y="1066"/>
                  </a:lnTo>
                  <a:lnTo>
                    <a:pt x="442" y="1060"/>
                  </a:lnTo>
                  <a:lnTo>
                    <a:pt x="436" y="1060"/>
                  </a:lnTo>
                  <a:lnTo>
                    <a:pt x="430" y="1060"/>
                  </a:lnTo>
                  <a:lnTo>
                    <a:pt x="430" y="1066"/>
                  </a:lnTo>
                  <a:lnTo>
                    <a:pt x="425" y="1066"/>
                  </a:lnTo>
                  <a:lnTo>
                    <a:pt x="425" y="1071"/>
                  </a:lnTo>
                  <a:lnTo>
                    <a:pt x="425" y="1077"/>
                  </a:lnTo>
                  <a:lnTo>
                    <a:pt x="425" y="1083"/>
                  </a:lnTo>
                  <a:lnTo>
                    <a:pt x="425" y="1094"/>
                  </a:lnTo>
                  <a:lnTo>
                    <a:pt x="425" y="1100"/>
                  </a:lnTo>
                  <a:lnTo>
                    <a:pt x="425" y="1105"/>
                  </a:lnTo>
                  <a:lnTo>
                    <a:pt x="419" y="1105"/>
                  </a:lnTo>
                  <a:lnTo>
                    <a:pt x="413" y="1111"/>
                  </a:lnTo>
                  <a:lnTo>
                    <a:pt x="408" y="1111"/>
                  </a:lnTo>
                  <a:lnTo>
                    <a:pt x="402" y="1111"/>
                  </a:lnTo>
                  <a:lnTo>
                    <a:pt x="396" y="1111"/>
                  </a:lnTo>
                  <a:lnTo>
                    <a:pt x="385" y="1111"/>
                  </a:lnTo>
                  <a:lnTo>
                    <a:pt x="379" y="1105"/>
                  </a:lnTo>
                  <a:lnTo>
                    <a:pt x="379" y="1100"/>
                  </a:lnTo>
                  <a:lnTo>
                    <a:pt x="379" y="1094"/>
                  </a:lnTo>
                  <a:lnTo>
                    <a:pt x="379" y="1088"/>
                  </a:lnTo>
                  <a:lnTo>
                    <a:pt x="379" y="1083"/>
                  </a:lnTo>
                  <a:lnTo>
                    <a:pt x="379" y="1077"/>
                  </a:lnTo>
                  <a:lnTo>
                    <a:pt x="379" y="1071"/>
                  </a:lnTo>
                  <a:lnTo>
                    <a:pt x="374" y="1066"/>
                  </a:lnTo>
                  <a:lnTo>
                    <a:pt x="368" y="1066"/>
                  </a:lnTo>
                  <a:lnTo>
                    <a:pt x="368" y="1060"/>
                  </a:lnTo>
                  <a:lnTo>
                    <a:pt x="362" y="1054"/>
                  </a:lnTo>
                  <a:lnTo>
                    <a:pt x="357" y="1054"/>
                  </a:lnTo>
                  <a:lnTo>
                    <a:pt x="357" y="1049"/>
                  </a:lnTo>
                  <a:lnTo>
                    <a:pt x="357" y="1043"/>
                  </a:lnTo>
                  <a:lnTo>
                    <a:pt x="357" y="1037"/>
                  </a:lnTo>
                  <a:lnTo>
                    <a:pt x="351" y="1032"/>
                  </a:lnTo>
                  <a:lnTo>
                    <a:pt x="351" y="1026"/>
                  </a:lnTo>
                  <a:lnTo>
                    <a:pt x="351" y="1020"/>
                  </a:lnTo>
                  <a:lnTo>
                    <a:pt x="351" y="1009"/>
                  </a:lnTo>
                  <a:lnTo>
                    <a:pt x="351" y="1003"/>
                  </a:lnTo>
                  <a:lnTo>
                    <a:pt x="357" y="992"/>
                  </a:lnTo>
                  <a:lnTo>
                    <a:pt x="357" y="986"/>
                  </a:lnTo>
                  <a:lnTo>
                    <a:pt x="357" y="980"/>
                  </a:lnTo>
                  <a:lnTo>
                    <a:pt x="357" y="975"/>
                  </a:lnTo>
                  <a:lnTo>
                    <a:pt x="362" y="975"/>
                  </a:lnTo>
                  <a:lnTo>
                    <a:pt x="368" y="969"/>
                  </a:lnTo>
                  <a:lnTo>
                    <a:pt x="368" y="963"/>
                  </a:lnTo>
                  <a:lnTo>
                    <a:pt x="374" y="963"/>
                  </a:lnTo>
                  <a:lnTo>
                    <a:pt x="374" y="958"/>
                  </a:lnTo>
                  <a:lnTo>
                    <a:pt x="379" y="958"/>
                  </a:lnTo>
                  <a:lnTo>
                    <a:pt x="385" y="952"/>
                  </a:lnTo>
                  <a:lnTo>
                    <a:pt x="391" y="946"/>
                  </a:lnTo>
                  <a:lnTo>
                    <a:pt x="396" y="946"/>
                  </a:lnTo>
                  <a:lnTo>
                    <a:pt x="402" y="941"/>
                  </a:lnTo>
                  <a:lnTo>
                    <a:pt x="408" y="941"/>
                  </a:lnTo>
                  <a:lnTo>
                    <a:pt x="413" y="941"/>
                  </a:lnTo>
                  <a:lnTo>
                    <a:pt x="413" y="935"/>
                  </a:lnTo>
                  <a:lnTo>
                    <a:pt x="419" y="929"/>
                  </a:lnTo>
                  <a:lnTo>
                    <a:pt x="425" y="929"/>
                  </a:lnTo>
                  <a:lnTo>
                    <a:pt x="425" y="924"/>
                  </a:lnTo>
                  <a:lnTo>
                    <a:pt x="425" y="918"/>
                  </a:lnTo>
                  <a:lnTo>
                    <a:pt x="430" y="918"/>
                  </a:lnTo>
                  <a:lnTo>
                    <a:pt x="430" y="912"/>
                  </a:lnTo>
                  <a:lnTo>
                    <a:pt x="436" y="912"/>
                  </a:lnTo>
                  <a:lnTo>
                    <a:pt x="436" y="901"/>
                  </a:lnTo>
                  <a:lnTo>
                    <a:pt x="436" y="884"/>
                  </a:lnTo>
                  <a:lnTo>
                    <a:pt x="436" y="867"/>
                  </a:lnTo>
                  <a:lnTo>
                    <a:pt x="436" y="861"/>
                  </a:lnTo>
                  <a:lnTo>
                    <a:pt x="436" y="856"/>
                  </a:lnTo>
                  <a:lnTo>
                    <a:pt x="436" y="850"/>
                  </a:lnTo>
                  <a:lnTo>
                    <a:pt x="436" y="844"/>
                  </a:lnTo>
                  <a:lnTo>
                    <a:pt x="430" y="844"/>
                  </a:lnTo>
                  <a:lnTo>
                    <a:pt x="425" y="844"/>
                  </a:lnTo>
                  <a:lnTo>
                    <a:pt x="413" y="844"/>
                  </a:lnTo>
                  <a:lnTo>
                    <a:pt x="408" y="844"/>
                  </a:lnTo>
                  <a:lnTo>
                    <a:pt x="408" y="850"/>
                  </a:lnTo>
                  <a:lnTo>
                    <a:pt x="402" y="850"/>
                  </a:lnTo>
                  <a:lnTo>
                    <a:pt x="396" y="850"/>
                  </a:lnTo>
                  <a:lnTo>
                    <a:pt x="396" y="856"/>
                  </a:lnTo>
                  <a:lnTo>
                    <a:pt x="391" y="861"/>
                  </a:lnTo>
                  <a:lnTo>
                    <a:pt x="385" y="861"/>
                  </a:lnTo>
                  <a:lnTo>
                    <a:pt x="379" y="861"/>
                  </a:lnTo>
                  <a:lnTo>
                    <a:pt x="374" y="861"/>
                  </a:lnTo>
                  <a:lnTo>
                    <a:pt x="368" y="861"/>
                  </a:lnTo>
                  <a:lnTo>
                    <a:pt x="362" y="861"/>
                  </a:lnTo>
                  <a:lnTo>
                    <a:pt x="357" y="861"/>
                  </a:lnTo>
                  <a:lnTo>
                    <a:pt x="351" y="861"/>
                  </a:lnTo>
                  <a:lnTo>
                    <a:pt x="351" y="856"/>
                  </a:lnTo>
                  <a:lnTo>
                    <a:pt x="345" y="856"/>
                  </a:lnTo>
                  <a:lnTo>
                    <a:pt x="340" y="856"/>
                  </a:lnTo>
                  <a:lnTo>
                    <a:pt x="328" y="856"/>
                  </a:lnTo>
                  <a:lnTo>
                    <a:pt x="328" y="850"/>
                  </a:lnTo>
                  <a:lnTo>
                    <a:pt x="323" y="850"/>
                  </a:lnTo>
                  <a:lnTo>
                    <a:pt x="317" y="844"/>
                  </a:lnTo>
                  <a:lnTo>
                    <a:pt x="311" y="844"/>
                  </a:lnTo>
                  <a:lnTo>
                    <a:pt x="306" y="839"/>
                  </a:lnTo>
                  <a:lnTo>
                    <a:pt x="300" y="839"/>
                  </a:lnTo>
                  <a:lnTo>
                    <a:pt x="300" y="833"/>
                  </a:lnTo>
                  <a:lnTo>
                    <a:pt x="294" y="833"/>
                  </a:lnTo>
                  <a:lnTo>
                    <a:pt x="294" y="827"/>
                  </a:lnTo>
                  <a:lnTo>
                    <a:pt x="294" y="822"/>
                  </a:lnTo>
                  <a:lnTo>
                    <a:pt x="289" y="822"/>
                  </a:lnTo>
                  <a:lnTo>
                    <a:pt x="283" y="822"/>
                  </a:lnTo>
                  <a:lnTo>
                    <a:pt x="283" y="816"/>
                  </a:lnTo>
                  <a:lnTo>
                    <a:pt x="277" y="810"/>
                  </a:lnTo>
                  <a:lnTo>
                    <a:pt x="272" y="810"/>
                  </a:lnTo>
                  <a:lnTo>
                    <a:pt x="272" y="805"/>
                  </a:lnTo>
                  <a:lnTo>
                    <a:pt x="266" y="805"/>
                  </a:lnTo>
                  <a:lnTo>
                    <a:pt x="260" y="805"/>
                  </a:lnTo>
                  <a:lnTo>
                    <a:pt x="255" y="805"/>
                  </a:lnTo>
                  <a:lnTo>
                    <a:pt x="249" y="805"/>
                  </a:lnTo>
                  <a:lnTo>
                    <a:pt x="249" y="799"/>
                  </a:lnTo>
                  <a:lnTo>
                    <a:pt x="243" y="799"/>
                  </a:lnTo>
                  <a:lnTo>
                    <a:pt x="238" y="799"/>
                  </a:lnTo>
                  <a:lnTo>
                    <a:pt x="232" y="799"/>
                  </a:lnTo>
                  <a:lnTo>
                    <a:pt x="226" y="805"/>
                  </a:lnTo>
                  <a:lnTo>
                    <a:pt x="221" y="805"/>
                  </a:lnTo>
                  <a:lnTo>
                    <a:pt x="215" y="810"/>
                  </a:lnTo>
                  <a:lnTo>
                    <a:pt x="209" y="810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87" y="810"/>
                  </a:lnTo>
                  <a:lnTo>
                    <a:pt x="181" y="810"/>
                  </a:lnTo>
                  <a:lnTo>
                    <a:pt x="164" y="810"/>
                  </a:lnTo>
                  <a:lnTo>
                    <a:pt x="153" y="805"/>
                  </a:lnTo>
                  <a:lnTo>
                    <a:pt x="141" y="799"/>
                  </a:lnTo>
                  <a:lnTo>
                    <a:pt x="141" y="793"/>
                  </a:lnTo>
                  <a:lnTo>
                    <a:pt x="136" y="793"/>
                  </a:lnTo>
                  <a:lnTo>
                    <a:pt x="130" y="793"/>
                  </a:lnTo>
                  <a:lnTo>
                    <a:pt x="130" y="788"/>
                  </a:lnTo>
                  <a:lnTo>
                    <a:pt x="124" y="788"/>
                  </a:lnTo>
                  <a:lnTo>
                    <a:pt x="119" y="788"/>
                  </a:lnTo>
                  <a:lnTo>
                    <a:pt x="113" y="788"/>
                  </a:lnTo>
                  <a:lnTo>
                    <a:pt x="113" y="782"/>
                  </a:lnTo>
                  <a:lnTo>
                    <a:pt x="107" y="782"/>
                  </a:lnTo>
                  <a:lnTo>
                    <a:pt x="107" y="776"/>
                  </a:lnTo>
                  <a:lnTo>
                    <a:pt x="102" y="776"/>
                  </a:lnTo>
                  <a:lnTo>
                    <a:pt x="96" y="776"/>
                  </a:lnTo>
                  <a:lnTo>
                    <a:pt x="96" y="771"/>
                  </a:lnTo>
                  <a:lnTo>
                    <a:pt x="90" y="765"/>
                  </a:lnTo>
                  <a:lnTo>
                    <a:pt x="79" y="771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gray">
            <a:xfrm>
              <a:off x="1518838" y="3108923"/>
              <a:ext cx="1241565" cy="1037800"/>
            </a:xfrm>
            <a:custGeom>
              <a:avLst/>
              <a:gdLst>
                <a:gd name="T0" fmla="*/ 2147483647 w 885"/>
                <a:gd name="T1" fmla="*/ 2147483647 h 777"/>
                <a:gd name="T2" fmla="*/ 2147483647 w 885"/>
                <a:gd name="T3" fmla="*/ 2147483647 h 777"/>
                <a:gd name="T4" fmla="*/ 2147483647 w 885"/>
                <a:gd name="T5" fmla="*/ 2147483647 h 777"/>
                <a:gd name="T6" fmla="*/ 2147483647 w 885"/>
                <a:gd name="T7" fmla="*/ 2147483647 h 777"/>
                <a:gd name="T8" fmla="*/ 2147483647 w 885"/>
                <a:gd name="T9" fmla="*/ 2147483647 h 777"/>
                <a:gd name="T10" fmla="*/ 2147483647 w 885"/>
                <a:gd name="T11" fmla="*/ 2147483647 h 777"/>
                <a:gd name="T12" fmla="*/ 2147483647 w 885"/>
                <a:gd name="T13" fmla="*/ 2147483647 h 777"/>
                <a:gd name="T14" fmla="*/ 2147483647 w 885"/>
                <a:gd name="T15" fmla="*/ 2147483647 h 777"/>
                <a:gd name="T16" fmla="*/ 2147483647 w 885"/>
                <a:gd name="T17" fmla="*/ 2147483647 h 777"/>
                <a:gd name="T18" fmla="*/ 2147483647 w 885"/>
                <a:gd name="T19" fmla="*/ 2147483647 h 777"/>
                <a:gd name="T20" fmla="*/ 2147483647 w 885"/>
                <a:gd name="T21" fmla="*/ 2147483647 h 777"/>
                <a:gd name="T22" fmla="*/ 2147483647 w 885"/>
                <a:gd name="T23" fmla="*/ 2147483647 h 777"/>
                <a:gd name="T24" fmla="*/ 2147483647 w 885"/>
                <a:gd name="T25" fmla="*/ 2147483647 h 777"/>
                <a:gd name="T26" fmla="*/ 2147483647 w 885"/>
                <a:gd name="T27" fmla="*/ 2147483647 h 777"/>
                <a:gd name="T28" fmla="*/ 2147483647 w 885"/>
                <a:gd name="T29" fmla="*/ 2147483647 h 777"/>
                <a:gd name="T30" fmla="*/ 2147483647 w 885"/>
                <a:gd name="T31" fmla="*/ 2147483647 h 777"/>
                <a:gd name="T32" fmla="*/ 2147483647 w 885"/>
                <a:gd name="T33" fmla="*/ 2147483647 h 777"/>
                <a:gd name="T34" fmla="*/ 2147483647 w 885"/>
                <a:gd name="T35" fmla="*/ 2147483647 h 777"/>
                <a:gd name="T36" fmla="*/ 2147483647 w 885"/>
                <a:gd name="T37" fmla="*/ 2147483647 h 777"/>
                <a:gd name="T38" fmla="*/ 2147483647 w 885"/>
                <a:gd name="T39" fmla="*/ 2147483647 h 777"/>
                <a:gd name="T40" fmla="*/ 2147483647 w 885"/>
                <a:gd name="T41" fmla="*/ 2147483647 h 777"/>
                <a:gd name="T42" fmla="*/ 2147483647 w 885"/>
                <a:gd name="T43" fmla="*/ 2147483647 h 777"/>
                <a:gd name="T44" fmla="*/ 2147483647 w 885"/>
                <a:gd name="T45" fmla="*/ 2147483647 h 777"/>
                <a:gd name="T46" fmla="*/ 2147483647 w 885"/>
                <a:gd name="T47" fmla="*/ 2147483647 h 777"/>
                <a:gd name="T48" fmla="*/ 2147483647 w 885"/>
                <a:gd name="T49" fmla="*/ 2147483647 h 777"/>
                <a:gd name="T50" fmla="*/ 2147483647 w 885"/>
                <a:gd name="T51" fmla="*/ 2147483647 h 777"/>
                <a:gd name="T52" fmla="*/ 2147483647 w 885"/>
                <a:gd name="T53" fmla="*/ 2147483647 h 777"/>
                <a:gd name="T54" fmla="*/ 2147483647 w 885"/>
                <a:gd name="T55" fmla="*/ 2147483647 h 777"/>
                <a:gd name="T56" fmla="*/ 2147483647 w 885"/>
                <a:gd name="T57" fmla="*/ 2147483647 h 777"/>
                <a:gd name="T58" fmla="*/ 2147483647 w 885"/>
                <a:gd name="T59" fmla="*/ 2147483647 h 777"/>
                <a:gd name="T60" fmla="*/ 2147483647 w 885"/>
                <a:gd name="T61" fmla="*/ 2147483647 h 777"/>
                <a:gd name="T62" fmla="*/ 2147483647 w 885"/>
                <a:gd name="T63" fmla="*/ 2147483647 h 777"/>
                <a:gd name="T64" fmla="*/ 2147483647 w 885"/>
                <a:gd name="T65" fmla="*/ 2147483647 h 777"/>
                <a:gd name="T66" fmla="*/ 2147483647 w 885"/>
                <a:gd name="T67" fmla="*/ 2147483647 h 777"/>
                <a:gd name="T68" fmla="*/ 2147483647 w 885"/>
                <a:gd name="T69" fmla="*/ 2147483647 h 777"/>
                <a:gd name="T70" fmla="*/ 2147483647 w 885"/>
                <a:gd name="T71" fmla="*/ 2147483647 h 777"/>
                <a:gd name="T72" fmla="*/ 2147483647 w 885"/>
                <a:gd name="T73" fmla="*/ 2147483647 h 777"/>
                <a:gd name="T74" fmla="*/ 2147483647 w 885"/>
                <a:gd name="T75" fmla="*/ 2147483647 h 777"/>
                <a:gd name="T76" fmla="*/ 2147483647 w 885"/>
                <a:gd name="T77" fmla="*/ 2147483647 h 777"/>
                <a:gd name="T78" fmla="*/ 2147483647 w 885"/>
                <a:gd name="T79" fmla="*/ 2147483647 h 777"/>
                <a:gd name="T80" fmla="*/ 2147483647 w 885"/>
                <a:gd name="T81" fmla="*/ 2147483647 h 777"/>
                <a:gd name="T82" fmla="*/ 2147483647 w 885"/>
                <a:gd name="T83" fmla="*/ 2147483647 h 777"/>
                <a:gd name="T84" fmla="*/ 2147483647 w 885"/>
                <a:gd name="T85" fmla="*/ 2147483647 h 777"/>
                <a:gd name="T86" fmla="*/ 2147483647 w 885"/>
                <a:gd name="T87" fmla="*/ 2147483647 h 777"/>
                <a:gd name="T88" fmla="*/ 2147483647 w 885"/>
                <a:gd name="T89" fmla="*/ 2147483647 h 777"/>
                <a:gd name="T90" fmla="*/ 2147483647 w 885"/>
                <a:gd name="T91" fmla="*/ 2147483647 h 777"/>
                <a:gd name="T92" fmla="*/ 2147483647 w 885"/>
                <a:gd name="T93" fmla="*/ 2147483647 h 777"/>
                <a:gd name="T94" fmla="*/ 2147483647 w 885"/>
                <a:gd name="T95" fmla="*/ 2147483647 h 777"/>
                <a:gd name="T96" fmla="*/ 2147483647 w 885"/>
                <a:gd name="T97" fmla="*/ 2147483647 h 777"/>
                <a:gd name="T98" fmla="*/ 2147483647 w 885"/>
                <a:gd name="T99" fmla="*/ 2147483647 h 777"/>
                <a:gd name="T100" fmla="*/ 2147483647 w 885"/>
                <a:gd name="T101" fmla="*/ 2147483647 h 777"/>
                <a:gd name="T102" fmla="*/ 2147483647 w 885"/>
                <a:gd name="T103" fmla="*/ 2147483647 h 777"/>
                <a:gd name="T104" fmla="*/ 2147483647 w 885"/>
                <a:gd name="T105" fmla="*/ 2147483647 h 777"/>
                <a:gd name="T106" fmla="*/ 2147483647 w 885"/>
                <a:gd name="T107" fmla="*/ 2147483647 h 777"/>
                <a:gd name="T108" fmla="*/ 2147483647 w 885"/>
                <a:gd name="T109" fmla="*/ 2147483647 h 777"/>
                <a:gd name="T110" fmla="*/ 2147483647 w 885"/>
                <a:gd name="T111" fmla="*/ 2147483647 h 777"/>
                <a:gd name="T112" fmla="*/ 2147483647 w 885"/>
                <a:gd name="T113" fmla="*/ 2147483647 h 777"/>
                <a:gd name="T114" fmla="*/ 2147483647 w 885"/>
                <a:gd name="T115" fmla="*/ 2147483647 h 777"/>
                <a:gd name="T116" fmla="*/ 2147483647 w 885"/>
                <a:gd name="T117" fmla="*/ 2147483647 h 777"/>
                <a:gd name="T118" fmla="*/ 2147483647 w 885"/>
                <a:gd name="T119" fmla="*/ 2147483647 h 777"/>
                <a:gd name="T120" fmla="*/ 2147483647 w 885"/>
                <a:gd name="T121" fmla="*/ 2147483647 h 7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85"/>
                <a:gd name="T184" fmla="*/ 0 h 777"/>
                <a:gd name="T185" fmla="*/ 885 w 885"/>
                <a:gd name="T186" fmla="*/ 777 h 77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85" h="777">
                  <a:moveTo>
                    <a:pt x="68" y="244"/>
                  </a:moveTo>
                  <a:lnTo>
                    <a:pt x="68" y="238"/>
                  </a:lnTo>
                  <a:lnTo>
                    <a:pt x="74" y="238"/>
                  </a:lnTo>
                  <a:lnTo>
                    <a:pt x="74" y="233"/>
                  </a:lnTo>
                  <a:lnTo>
                    <a:pt x="80" y="227"/>
                  </a:lnTo>
                  <a:lnTo>
                    <a:pt x="80" y="221"/>
                  </a:lnTo>
                  <a:lnTo>
                    <a:pt x="80" y="216"/>
                  </a:lnTo>
                  <a:lnTo>
                    <a:pt x="80" y="210"/>
                  </a:lnTo>
                  <a:lnTo>
                    <a:pt x="80" y="204"/>
                  </a:lnTo>
                  <a:lnTo>
                    <a:pt x="74" y="204"/>
                  </a:lnTo>
                  <a:lnTo>
                    <a:pt x="68" y="204"/>
                  </a:lnTo>
                  <a:lnTo>
                    <a:pt x="57" y="204"/>
                  </a:lnTo>
                  <a:lnTo>
                    <a:pt x="51" y="204"/>
                  </a:lnTo>
                  <a:lnTo>
                    <a:pt x="46" y="204"/>
                  </a:lnTo>
                  <a:lnTo>
                    <a:pt x="40" y="199"/>
                  </a:lnTo>
                  <a:lnTo>
                    <a:pt x="40" y="193"/>
                  </a:lnTo>
                  <a:lnTo>
                    <a:pt x="40" y="187"/>
                  </a:lnTo>
                  <a:lnTo>
                    <a:pt x="40" y="182"/>
                  </a:lnTo>
                  <a:lnTo>
                    <a:pt x="34" y="182"/>
                  </a:lnTo>
                  <a:lnTo>
                    <a:pt x="34" y="176"/>
                  </a:lnTo>
                  <a:lnTo>
                    <a:pt x="29" y="176"/>
                  </a:lnTo>
                  <a:lnTo>
                    <a:pt x="23" y="176"/>
                  </a:lnTo>
                  <a:lnTo>
                    <a:pt x="17" y="176"/>
                  </a:lnTo>
                  <a:lnTo>
                    <a:pt x="12" y="170"/>
                  </a:lnTo>
                  <a:lnTo>
                    <a:pt x="12" y="165"/>
                  </a:lnTo>
                  <a:lnTo>
                    <a:pt x="12" y="153"/>
                  </a:lnTo>
                  <a:lnTo>
                    <a:pt x="6" y="153"/>
                  </a:lnTo>
                  <a:lnTo>
                    <a:pt x="0" y="142"/>
                  </a:lnTo>
                  <a:lnTo>
                    <a:pt x="0" y="136"/>
                  </a:lnTo>
                  <a:lnTo>
                    <a:pt x="6" y="136"/>
                  </a:lnTo>
                  <a:lnTo>
                    <a:pt x="6" y="131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17" y="125"/>
                  </a:lnTo>
                  <a:lnTo>
                    <a:pt x="17" y="119"/>
                  </a:lnTo>
                  <a:lnTo>
                    <a:pt x="23" y="119"/>
                  </a:lnTo>
                  <a:lnTo>
                    <a:pt x="23" y="114"/>
                  </a:lnTo>
                  <a:lnTo>
                    <a:pt x="29" y="114"/>
                  </a:lnTo>
                  <a:lnTo>
                    <a:pt x="29" y="108"/>
                  </a:lnTo>
                  <a:lnTo>
                    <a:pt x="34" y="108"/>
                  </a:lnTo>
                  <a:lnTo>
                    <a:pt x="34" y="102"/>
                  </a:lnTo>
                  <a:lnTo>
                    <a:pt x="40" y="102"/>
                  </a:lnTo>
                  <a:lnTo>
                    <a:pt x="40" y="97"/>
                  </a:lnTo>
                  <a:lnTo>
                    <a:pt x="46" y="91"/>
                  </a:lnTo>
                  <a:lnTo>
                    <a:pt x="46" y="85"/>
                  </a:lnTo>
                  <a:lnTo>
                    <a:pt x="51" y="85"/>
                  </a:lnTo>
                  <a:lnTo>
                    <a:pt x="51" y="80"/>
                  </a:lnTo>
                  <a:lnTo>
                    <a:pt x="57" y="80"/>
                  </a:lnTo>
                  <a:lnTo>
                    <a:pt x="57" y="74"/>
                  </a:lnTo>
                  <a:lnTo>
                    <a:pt x="63" y="74"/>
                  </a:lnTo>
                  <a:lnTo>
                    <a:pt x="68" y="74"/>
                  </a:lnTo>
                  <a:lnTo>
                    <a:pt x="74" y="74"/>
                  </a:lnTo>
                  <a:lnTo>
                    <a:pt x="80" y="74"/>
                  </a:lnTo>
                  <a:lnTo>
                    <a:pt x="80" y="80"/>
                  </a:lnTo>
                  <a:lnTo>
                    <a:pt x="85" y="80"/>
                  </a:lnTo>
                  <a:lnTo>
                    <a:pt x="91" y="85"/>
                  </a:lnTo>
                  <a:lnTo>
                    <a:pt x="97" y="91"/>
                  </a:lnTo>
                  <a:lnTo>
                    <a:pt x="102" y="91"/>
                  </a:lnTo>
                  <a:lnTo>
                    <a:pt x="108" y="97"/>
                  </a:lnTo>
                  <a:lnTo>
                    <a:pt x="114" y="97"/>
                  </a:lnTo>
                  <a:lnTo>
                    <a:pt x="114" y="102"/>
                  </a:lnTo>
                  <a:lnTo>
                    <a:pt x="125" y="108"/>
                  </a:lnTo>
                  <a:lnTo>
                    <a:pt x="131" y="108"/>
                  </a:lnTo>
                  <a:lnTo>
                    <a:pt x="136" y="108"/>
                  </a:lnTo>
                  <a:lnTo>
                    <a:pt x="136" y="114"/>
                  </a:lnTo>
                  <a:lnTo>
                    <a:pt x="148" y="114"/>
                  </a:lnTo>
                  <a:lnTo>
                    <a:pt x="153" y="119"/>
                  </a:lnTo>
                  <a:lnTo>
                    <a:pt x="165" y="119"/>
                  </a:lnTo>
                  <a:lnTo>
                    <a:pt x="170" y="119"/>
                  </a:lnTo>
                  <a:lnTo>
                    <a:pt x="176" y="119"/>
                  </a:lnTo>
                  <a:lnTo>
                    <a:pt x="182" y="119"/>
                  </a:lnTo>
                  <a:lnTo>
                    <a:pt x="187" y="119"/>
                  </a:lnTo>
                  <a:lnTo>
                    <a:pt x="193" y="119"/>
                  </a:lnTo>
                  <a:lnTo>
                    <a:pt x="204" y="114"/>
                  </a:lnTo>
                  <a:lnTo>
                    <a:pt x="210" y="114"/>
                  </a:lnTo>
                  <a:lnTo>
                    <a:pt x="216" y="114"/>
                  </a:lnTo>
                  <a:lnTo>
                    <a:pt x="221" y="114"/>
                  </a:lnTo>
                  <a:lnTo>
                    <a:pt x="233" y="119"/>
                  </a:lnTo>
                  <a:lnTo>
                    <a:pt x="238" y="119"/>
                  </a:lnTo>
                  <a:lnTo>
                    <a:pt x="244" y="119"/>
                  </a:lnTo>
                  <a:lnTo>
                    <a:pt x="250" y="119"/>
                  </a:lnTo>
                  <a:lnTo>
                    <a:pt x="261" y="119"/>
                  </a:lnTo>
                  <a:lnTo>
                    <a:pt x="267" y="119"/>
                  </a:lnTo>
                  <a:lnTo>
                    <a:pt x="272" y="119"/>
                  </a:lnTo>
                  <a:lnTo>
                    <a:pt x="272" y="114"/>
                  </a:lnTo>
                  <a:lnTo>
                    <a:pt x="278" y="114"/>
                  </a:lnTo>
                  <a:lnTo>
                    <a:pt x="278" y="102"/>
                  </a:lnTo>
                  <a:lnTo>
                    <a:pt x="278" y="97"/>
                  </a:lnTo>
                  <a:lnTo>
                    <a:pt x="278" y="91"/>
                  </a:lnTo>
                  <a:lnTo>
                    <a:pt x="278" y="85"/>
                  </a:lnTo>
                  <a:lnTo>
                    <a:pt x="278" y="80"/>
                  </a:lnTo>
                  <a:lnTo>
                    <a:pt x="278" y="74"/>
                  </a:lnTo>
                  <a:lnTo>
                    <a:pt x="278" y="68"/>
                  </a:lnTo>
                  <a:lnTo>
                    <a:pt x="278" y="63"/>
                  </a:lnTo>
                  <a:lnTo>
                    <a:pt x="284" y="63"/>
                  </a:lnTo>
                  <a:lnTo>
                    <a:pt x="284" y="57"/>
                  </a:lnTo>
                  <a:lnTo>
                    <a:pt x="284" y="51"/>
                  </a:lnTo>
                  <a:lnTo>
                    <a:pt x="289" y="51"/>
                  </a:lnTo>
                  <a:lnTo>
                    <a:pt x="289" y="46"/>
                  </a:lnTo>
                  <a:lnTo>
                    <a:pt x="289" y="40"/>
                  </a:lnTo>
                  <a:lnTo>
                    <a:pt x="295" y="40"/>
                  </a:lnTo>
                  <a:lnTo>
                    <a:pt x="295" y="34"/>
                  </a:lnTo>
                  <a:lnTo>
                    <a:pt x="295" y="29"/>
                  </a:lnTo>
                  <a:lnTo>
                    <a:pt x="301" y="29"/>
                  </a:lnTo>
                  <a:lnTo>
                    <a:pt x="301" y="23"/>
                  </a:lnTo>
                  <a:lnTo>
                    <a:pt x="306" y="17"/>
                  </a:lnTo>
                  <a:lnTo>
                    <a:pt x="306" y="12"/>
                  </a:lnTo>
                  <a:lnTo>
                    <a:pt x="306" y="6"/>
                  </a:lnTo>
                  <a:lnTo>
                    <a:pt x="318" y="0"/>
                  </a:lnTo>
                  <a:lnTo>
                    <a:pt x="323" y="0"/>
                  </a:lnTo>
                  <a:lnTo>
                    <a:pt x="329" y="0"/>
                  </a:lnTo>
                  <a:lnTo>
                    <a:pt x="335" y="0"/>
                  </a:lnTo>
                  <a:lnTo>
                    <a:pt x="346" y="6"/>
                  </a:lnTo>
                  <a:lnTo>
                    <a:pt x="352" y="12"/>
                  </a:lnTo>
                  <a:lnTo>
                    <a:pt x="357" y="17"/>
                  </a:lnTo>
                  <a:lnTo>
                    <a:pt x="363" y="17"/>
                  </a:lnTo>
                  <a:lnTo>
                    <a:pt x="363" y="23"/>
                  </a:lnTo>
                  <a:lnTo>
                    <a:pt x="369" y="23"/>
                  </a:lnTo>
                  <a:lnTo>
                    <a:pt x="369" y="29"/>
                  </a:lnTo>
                  <a:lnTo>
                    <a:pt x="374" y="29"/>
                  </a:lnTo>
                  <a:lnTo>
                    <a:pt x="374" y="34"/>
                  </a:lnTo>
                  <a:lnTo>
                    <a:pt x="374" y="40"/>
                  </a:lnTo>
                  <a:lnTo>
                    <a:pt x="374" y="46"/>
                  </a:lnTo>
                  <a:lnTo>
                    <a:pt x="380" y="51"/>
                  </a:lnTo>
                  <a:lnTo>
                    <a:pt x="380" y="57"/>
                  </a:lnTo>
                  <a:lnTo>
                    <a:pt x="380" y="63"/>
                  </a:lnTo>
                  <a:lnTo>
                    <a:pt x="380" y="68"/>
                  </a:lnTo>
                  <a:lnTo>
                    <a:pt x="386" y="68"/>
                  </a:lnTo>
                  <a:lnTo>
                    <a:pt x="386" y="74"/>
                  </a:lnTo>
                  <a:lnTo>
                    <a:pt x="391" y="80"/>
                  </a:lnTo>
                  <a:lnTo>
                    <a:pt x="391" y="85"/>
                  </a:lnTo>
                  <a:lnTo>
                    <a:pt x="391" y="97"/>
                  </a:lnTo>
                  <a:lnTo>
                    <a:pt x="397" y="102"/>
                  </a:lnTo>
                  <a:lnTo>
                    <a:pt x="397" y="108"/>
                  </a:lnTo>
                  <a:lnTo>
                    <a:pt x="403" y="108"/>
                  </a:lnTo>
                  <a:lnTo>
                    <a:pt x="408" y="114"/>
                  </a:lnTo>
                  <a:lnTo>
                    <a:pt x="408" y="119"/>
                  </a:lnTo>
                  <a:lnTo>
                    <a:pt x="414" y="119"/>
                  </a:lnTo>
                  <a:lnTo>
                    <a:pt x="420" y="125"/>
                  </a:lnTo>
                  <a:lnTo>
                    <a:pt x="425" y="125"/>
                  </a:lnTo>
                  <a:lnTo>
                    <a:pt x="425" y="131"/>
                  </a:lnTo>
                  <a:lnTo>
                    <a:pt x="431" y="131"/>
                  </a:lnTo>
                  <a:lnTo>
                    <a:pt x="437" y="136"/>
                  </a:lnTo>
                  <a:lnTo>
                    <a:pt x="442" y="136"/>
                  </a:lnTo>
                  <a:lnTo>
                    <a:pt x="442" y="142"/>
                  </a:lnTo>
                  <a:lnTo>
                    <a:pt x="448" y="142"/>
                  </a:lnTo>
                  <a:lnTo>
                    <a:pt x="448" y="148"/>
                  </a:lnTo>
                  <a:lnTo>
                    <a:pt x="454" y="148"/>
                  </a:lnTo>
                  <a:lnTo>
                    <a:pt x="459" y="153"/>
                  </a:lnTo>
                  <a:lnTo>
                    <a:pt x="465" y="159"/>
                  </a:lnTo>
                  <a:lnTo>
                    <a:pt x="471" y="165"/>
                  </a:lnTo>
                  <a:lnTo>
                    <a:pt x="471" y="170"/>
                  </a:lnTo>
                  <a:lnTo>
                    <a:pt x="471" y="176"/>
                  </a:lnTo>
                  <a:lnTo>
                    <a:pt x="476" y="176"/>
                  </a:lnTo>
                  <a:lnTo>
                    <a:pt x="482" y="182"/>
                  </a:lnTo>
                  <a:lnTo>
                    <a:pt x="488" y="182"/>
                  </a:lnTo>
                  <a:lnTo>
                    <a:pt x="493" y="182"/>
                  </a:lnTo>
                  <a:lnTo>
                    <a:pt x="499" y="176"/>
                  </a:lnTo>
                  <a:lnTo>
                    <a:pt x="499" y="170"/>
                  </a:lnTo>
                  <a:lnTo>
                    <a:pt x="505" y="165"/>
                  </a:lnTo>
                  <a:lnTo>
                    <a:pt x="510" y="153"/>
                  </a:lnTo>
                  <a:lnTo>
                    <a:pt x="516" y="148"/>
                  </a:lnTo>
                  <a:lnTo>
                    <a:pt x="516" y="142"/>
                  </a:lnTo>
                  <a:lnTo>
                    <a:pt x="516" y="136"/>
                  </a:lnTo>
                  <a:lnTo>
                    <a:pt x="522" y="136"/>
                  </a:lnTo>
                  <a:lnTo>
                    <a:pt x="527" y="136"/>
                  </a:lnTo>
                  <a:lnTo>
                    <a:pt x="527" y="131"/>
                  </a:lnTo>
                  <a:lnTo>
                    <a:pt x="527" y="125"/>
                  </a:lnTo>
                  <a:lnTo>
                    <a:pt x="533" y="125"/>
                  </a:lnTo>
                  <a:lnTo>
                    <a:pt x="533" y="119"/>
                  </a:lnTo>
                  <a:lnTo>
                    <a:pt x="533" y="114"/>
                  </a:lnTo>
                  <a:lnTo>
                    <a:pt x="533" y="108"/>
                  </a:lnTo>
                  <a:lnTo>
                    <a:pt x="539" y="108"/>
                  </a:lnTo>
                  <a:lnTo>
                    <a:pt x="544" y="108"/>
                  </a:lnTo>
                  <a:lnTo>
                    <a:pt x="550" y="108"/>
                  </a:lnTo>
                  <a:lnTo>
                    <a:pt x="556" y="108"/>
                  </a:lnTo>
                  <a:lnTo>
                    <a:pt x="567" y="108"/>
                  </a:lnTo>
                  <a:lnTo>
                    <a:pt x="573" y="108"/>
                  </a:lnTo>
                  <a:lnTo>
                    <a:pt x="578" y="108"/>
                  </a:lnTo>
                  <a:lnTo>
                    <a:pt x="590" y="108"/>
                  </a:lnTo>
                  <a:lnTo>
                    <a:pt x="601" y="108"/>
                  </a:lnTo>
                  <a:lnTo>
                    <a:pt x="590" y="119"/>
                  </a:lnTo>
                  <a:lnTo>
                    <a:pt x="590" y="125"/>
                  </a:lnTo>
                  <a:lnTo>
                    <a:pt x="584" y="131"/>
                  </a:lnTo>
                  <a:lnTo>
                    <a:pt x="578" y="148"/>
                  </a:lnTo>
                  <a:lnTo>
                    <a:pt x="573" y="153"/>
                  </a:lnTo>
                  <a:lnTo>
                    <a:pt x="573" y="159"/>
                  </a:lnTo>
                  <a:lnTo>
                    <a:pt x="578" y="165"/>
                  </a:lnTo>
                  <a:lnTo>
                    <a:pt x="584" y="170"/>
                  </a:lnTo>
                  <a:lnTo>
                    <a:pt x="584" y="176"/>
                  </a:lnTo>
                  <a:lnTo>
                    <a:pt x="584" y="182"/>
                  </a:lnTo>
                  <a:lnTo>
                    <a:pt x="584" y="187"/>
                  </a:lnTo>
                  <a:lnTo>
                    <a:pt x="590" y="193"/>
                  </a:lnTo>
                  <a:lnTo>
                    <a:pt x="590" y="199"/>
                  </a:lnTo>
                  <a:lnTo>
                    <a:pt x="595" y="199"/>
                  </a:lnTo>
                  <a:lnTo>
                    <a:pt x="595" y="204"/>
                  </a:lnTo>
                  <a:lnTo>
                    <a:pt x="590" y="204"/>
                  </a:lnTo>
                  <a:lnTo>
                    <a:pt x="590" y="216"/>
                  </a:lnTo>
                  <a:lnTo>
                    <a:pt x="590" y="221"/>
                  </a:lnTo>
                  <a:lnTo>
                    <a:pt x="590" y="227"/>
                  </a:lnTo>
                  <a:lnTo>
                    <a:pt x="590" y="233"/>
                  </a:lnTo>
                  <a:lnTo>
                    <a:pt x="590" y="238"/>
                  </a:lnTo>
                  <a:lnTo>
                    <a:pt x="590" y="244"/>
                  </a:lnTo>
                  <a:lnTo>
                    <a:pt x="584" y="244"/>
                  </a:lnTo>
                  <a:lnTo>
                    <a:pt x="584" y="250"/>
                  </a:lnTo>
                  <a:lnTo>
                    <a:pt x="584" y="255"/>
                  </a:lnTo>
                  <a:lnTo>
                    <a:pt x="584" y="261"/>
                  </a:lnTo>
                  <a:lnTo>
                    <a:pt x="584" y="272"/>
                  </a:lnTo>
                  <a:lnTo>
                    <a:pt x="578" y="278"/>
                  </a:lnTo>
                  <a:lnTo>
                    <a:pt x="578" y="289"/>
                  </a:lnTo>
                  <a:lnTo>
                    <a:pt x="578" y="295"/>
                  </a:lnTo>
                  <a:lnTo>
                    <a:pt x="578" y="301"/>
                  </a:lnTo>
                  <a:lnTo>
                    <a:pt x="584" y="301"/>
                  </a:lnTo>
                  <a:lnTo>
                    <a:pt x="590" y="301"/>
                  </a:lnTo>
                  <a:lnTo>
                    <a:pt x="590" y="295"/>
                  </a:lnTo>
                  <a:lnTo>
                    <a:pt x="595" y="289"/>
                  </a:lnTo>
                  <a:lnTo>
                    <a:pt x="601" y="289"/>
                  </a:lnTo>
                  <a:lnTo>
                    <a:pt x="607" y="289"/>
                  </a:lnTo>
                  <a:lnTo>
                    <a:pt x="612" y="284"/>
                  </a:lnTo>
                  <a:lnTo>
                    <a:pt x="612" y="278"/>
                  </a:lnTo>
                  <a:lnTo>
                    <a:pt x="624" y="278"/>
                  </a:lnTo>
                  <a:lnTo>
                    <a:pt x="629" y="278"/>
                  </a:lnTo>
                  <a:lnTo>
                    <a:pt x="629" y="272"/>
                  </a:lnTo>
                  <a:lnTo>
                    <a:pt x="641" y="272"/>
                  </a:lnTo>
                  <a:lnTo>
                    <a:pt x="646" y="272"/>
                  </a:lnTo>
                  <a:lnTo>
                    <a:pt x="652" y="272"/>
                  </a:lnTo>
                  <a:lnTo>
                    <a:pt x="658" y="272"/>
                  </a:lnTo>
                  <a:lnTo>
                    <a:pt x="658" y="267"/>
                  </a:lnTo>
                  <a:lnTo>
                    <a:pt x="669" y="267"/>
                  </a:lnTo>
                  <a:lnTo>
                    <a:pt x="669" y="261"/>
                  </a:lnTo>
                  <a:lnTo>
                    <a:pt x="675" y="261"/>
                  </a:lnTo>
                  <a:lnTo>
                    <a:pt x="686" y="261"/>
                  </a:lnTo>
                  <a:lnTo>
                    <a:pt x="692" y="255"/>
                  </a:lnTo>
                  <a:lnTo>
                    <a:pt x="697" y="255"/>
                  </a:lnTo>
                  <a:lnTo>
                    <a:pt x="709" y="250"/>
                  </a:lnTo>
                  <a:lnTo>
                    <a:pt x="714" y="250"/>
                  </a:lnTo>
                  <a:lnTo>
                    <a:pt x="720" y="250"/>
                  </a:lnTo>
                  <a:lnTo>
                    <a:pt x="726" y="250"/>
                  </a:lnTo>
                  <a:lnTo>
                    <a:pt x="732" y="250"/>
                  </a:lnTo>
                  <a:lnTo>
                    <a:pt x="743" y="244"/>
                  </a:lnTo>
                  <a:lnTo>
                    <a:pt x="754" y="244"/>
                  </a:lnTo>
                  <a:lnTo>
                    <a:pt x="766" y="244"/>
                  </a:lnTo>
                  <a:lnTo>
                    <a:pt x="771" y="244"/>
                  </a:lnTo>
                  <a:lnTo>
                    <a:pt x="777" y="244"/>
                  </a:lnTo>
                  <a:lnTo>
                    <a:pt x="788" y="244"/>
                  </a:lnTo>
                  <a:lnTo>
                    <a:pt x="800" y="244"/>
                  </a:lnTo>
                  <a:lnTo>
                    <a:pt x="805" y="244"/>
                  </a:lnTo>
                  <a:lnTo>
                    <a:pt x="811" y="244"/>
                  </a:lnTo>
                  <a:lnTo>
                    <a:pt x="811" y="255"/>
                  </a:lnTo>
                  <a:lnTo>
                    <a:pt x="811" y="267"/>
                  </a:lnTo>
                  <a:lnTo>
                    <a:pt x="811" y="272"/>
                  </a:lnTo>
                  <a:lnTo>
                    <a:pt x="811" y="278"/>
                  </a:lnTo>
                  <a:lnTo>
                    <a:pt x="817" y="289"/>
                  </a:lnTo>
                  <a:lnTo>
                    <a:pt x="817" y="295"/>
                  </a:lnTo>
                  <a:lnTo>
                    <a:pt x="817" y="301"/>
                  </a:lnTo>
                  <a:lnTo>
                    <a:pt x="822" y="301"/>
                  </a:lnTo>
                  <a:lnTo>
                    <a:pt x="822" y="306"/>
                  </a:lnTo>
                  <a:lnTo>
                    <a:pt x="828" y="312"/>
                  </a:lnTo>
                  <a:lnTo>
                    <a:pt x="828" y="318"/>
                  </a:lnTo>
                  <a:lnTo>
                    <a:pt x="828" y="323"/>
                  </a:lnTo>
                  <a:lnTo>
                    <a:pt x="834" y="329"/>
                  </a:lnTo>
                  <a:lnTo>
                    <a:pt x="839" y="335"/>
                  </a:lnTo>
                  <a:lnTo>
                    <a:pt x="845" y="341"/>
                  </a:lnTo>
                  <a:lnTo>
                    <a:pt x="845" y="346"/>
                  </a:lnTo>
                  <a:lnTo>
                    <a:pt x="851" y="352"/>
                  </a:lnTo>
                  <a:lnTo>
                    <a:pt x="851" y="358"/>
                  </a:lnTo>
                  <a:lnTo>
                    <a:pt x="851" y="369"/>
                  </a:lnTo>
                  <a:lnTo>
                    <a:pt x="851" y="386"/>
                  </a:lnTo>
                  <a:lnTo>
                    <a:pt x="851" y="397"/>
                  </a:lnTo>
                  <a:lnTo>
                    <a:pt x="851" y="414"/>
                  </a:lnTo>
                  <a:lnTo>
                    <a:pt x="851" y="426"/>
                  </a:lnTo>
                  <a:lnTo>
                    <a:pt x="851" y="443"/>
                  </a:lnTo>
                  <a:lnTo>
                    <a:pt x="856" y="443"/>
                  </a:lnTo>
                  <a:lnTo>
                    <a:pt x="856" y="454"/>
                  </a:lnTo>
                  <a:lnTo>
                    <a:pt x="856" y="460"/>
                  </a:lnTo>
                  <a:lnTo>
                    <a:pt x="862" y="460"/>
                  </a:lnTo>
                  <a:lnTo>
                    <a:pt x="868" y="471"/>
                  </a:lnTo>
                  <a:lnTo>
                    <a:pt x="873" y="471"/>
                  </a:lnTo>
                  <a:lnTo>
                    <a:pt x="879" y="471"/>
                  </a:lnTo>
                  <a:lnTo>
                    <a:pt x="879" y="477"/>
                  </a:lnTo>
                  <a:lnTo>
                    <a:pt x="885" y="477"/>
                  </a:lnTo>
                  <a:lnTo>
                    <a:pt x="885" y="482"/>
                  </a:lnTo>
                  <a:lnTo>
                    <a:pt x="885" y="488"/>
                  </a:lnTo>
                  <a:lnTo>
                    <a:pt x="885" y="494"/>
                  </a:lnTo>
                  <a:lnTo>
                    <a:pt x="879" y="494"/>
                  </a:lnTo>
                  <a:lnTo>
                    <a:pt x="879" y="499"/>
                  </a:lnTo>
                  <a:lnTo>
                    <a:pt x="879" y="511"/>
                  </a:lnTo>
                  <a:lnTo>
                    <a:pt x="873" y="511"/>
                  </a:lnTo>
                  <a:lnTo>
                    <a:pt x="873" y="516"/>
                  </a:lnTo>
                  <a:lnTo>
                    <a:pt x="873" y="522"/>
                  </a:lnTo>
                  <a:lnTo>
                    <a:pt x="868" y="522"/>
                  </a:lnTo>
                  <a:lnTo>
                    <a:pt x="868" y="528"/>
                  </a:lnTo>
                  <a:lnTo>
                    <a:pt x="868" y="533"/>
                  </a:lnTo>
                  <a:lnTo>
                    <a:pt x="868" y="539"/>
                  </a:lnTo>
                  <a:lnTo>
                    <a:pt x="862" y="539"/>
                  </a:lnTo>
                  <a:lnTo>
                    <a:pt x="862" y="545"/>
                  </a:lnTo>
                  <a:lnTo>
                    <a:pt x="856" y="550"/>
                  </a:lnTo>
                  <a:lnTo>
                    <a:pt x="851" y="550"/>
                  </a:lnTo>
                  <a:lnTo>
                    <a:pt x="845" y="556"/>
                  </a:lnTo>
                  <a:lnTo>
                    <a:pt x="839" y="556"/>
                  </a:lnTo>
                  <a:lnTo>
                    <a:pt x="834" y="556"/>
                  </a:lnTo>
                  <a:lnTo>
                    <a:pt x="828" y="556"/>
                  </a:lnTo>
                  <a:lnTo>
                    <a:pt x="822" y="562"/>
                  </a:lnTo>
                  <a:lnTo>
                    <a:pt x="817" y="562"/>
                  </a:lnTo>
                  <a:lnTo>
                    <a:pt x="811" y="567"/>
                  </a:lnTo>
                  <a:lnTo>
                    <a:pt x="805" y="573"/>
                  </a:lnTo>
                  <a:lnTo>
                    <a:pt x="800" y="579"/>
                  </a:lnTo>
                  <a:lnTo>
                    <a:pt x="800" y="584"/>
                  </a:lnTo>
                  <a:lnTo>
                    <a:pt x="794" y="584"/>
                  </a:lnTo>
                  <a:lnTo>
                    <a:pt x="794" y="590"/>
                  </a:lnTo>
                  <a:lnTo>
                    <a:pt x="794" y="596"/>
                  </a:lnTo>
                  <a:lnTo>
                    <a:pt x="794" y="601"/>
                  </a:lnTo>
                  <a:lnTo>
                    <a:pt x="794" y="607"/>
                  </a:lnTo>
                  <a:lnTo>
                    <a:pt x="794" y="613"/>
                  </a:lnTo>
                  <a:lnTo>
                    <a:pt x="783" y="607"/>
                  </a:lnTo>
                  <a:lnTo>
                    <a:pt x="777" y="601"/>
                  </a:lnTo>
                  <a:lnTo>
                    <a:pt x="771" y="590"/>
                  </a:lnTo>
                  <a:lnTo>
                    <a:pt x="766" y="584"/>
                  </a:lnTo>
                  <a:lnTo>
                    <a:pt x="760" y="579"/>
                  </a:lnTo>
                  <a:lnTo>
                    <a:pt x="754" y="579"/>
                  </a:lnTo>
                  <a:lnTo>
                    <a:pt x="749" y="579"/>
                  </a:lnTo>
                  <a:lnTo>
                    <a:pt x="743" y="579"/>
                  </a:lnTo>
                  <a:lnTo>
                    <a:pt x="732" y="579"/>
                  </a:lnTo>
                  <a:lnTo>
                    <a:pt x="726" y="579"/>
                  </a:lnTo>
                  <a:lnTo>
                    <a:pt x="726" y="584"/>
                  </a:lnTo>
                  <a:lnTo>
                    <a:pt x="720" y="584"/>
                  </a:lnTo>
                  <a:lnTo>
                    <a:pt x="720" y="590"/>
                  </a:lnTo>
                  <a:lnTo>
                    <a:pt x="714" y="590"/>
                  </a:lnTo>
                  <a:lnTo>
                    <a:pt x="714" y="596"/>
                  </a:lnTo>
                  <a:lnTo>
                    <a:pt x="709" y="596"/>
                  </a:lnTo>
                  <a:lnTo>
                    <a:pt x="703" y="601"/>
                  </a:lnTo>
                  <a:lnTo>
                    <a:pt x="703" y="607"/>
                  </a:lnTo>
                  <a:lnTo>
                    <a:pt x="697" y="607"/>
                  </a:lnTo>
                  <a:lnTo>
                    <a:pt x="692" y="613"/>
                  </a:lnTo>
                  <a:lnTo>
                    <a:pt x="686" y="613"/>
                  </a:lnTo>
                  <a:lnTo>
                    <a:pt x="686" y="618"/>
                  </a:lnTo>
                  <a:lnTo>
                    <a:pt x="686" y="624"/>
                  </a:lnTo>
                  <a:lnTo>
                    <a:pt x="675" y="630"/>
                  </a:lnTo>
                  <a:lnTo>
                    <a:pt x="675" y="635"/>
                  </a:lnTo>
                  <a:lnTo>
                    <a:pt x="669" y="635"/>
                  </a:lnTo>
                  <a:lnTo>
                    <a:pt x="663" y="641"/>
                  </a:lnTo>
                  <a:lnTo>
                    <a:pt x="658" y="641"/>
                  </a:lnTo>
                  <a:lnTo>
                    <a:pt x="658" y="652"/>
                  </a:lnTo>
                  <a:lnTo>
                    <a:pt x="652" y="652"/>
                  </a:lnTo>
                  <a:lnTo>
                    <a:pt x="646" y="658"/>
                  </a:lnTo>
                  <a:lnTo>
                    <a:pt x="641" y="664"/>
                  </a:lnTo>
                  <a:lnTo>
                    <a:pt x="629" y="669"/>
                  </a:lnTo>
                  <a:lnTo>
                    <a:pt x="629" y="675"/>
                  </a:lnTo>
                  <a:lnTo>
                    <a:pt x="624" y="675"/>
                  </a:lnTo>
                  <a:lnTo>
                    <a:pt x="618" y="681"/>
                  </a:lnTo>
                  <a:lnTo>
                    <a:pt x="612" y="686"/>
                  </a:lnTo>
                  <a:lnTo>
                    <a:pt x="607" y="692"/>
                  </a:lnTo>
                  <a:lnTo>
                    <a:pt x="601" y="692"/>
                  </a:lnTo>
                  <a:lnTo>
                    <a:pt x="595" y="692"/>
                  </a:lnTo>
                  <a:lnTo>
                    <a:pt x="590" y="692"/>
                  </a:lnTo>
                  <a:lnTo>
                    <a:pt x="590" y="686"/>
                  </a:lnTo>
                  <a:lnTo>
                    <a:pt x="590" y="681"/>
                  </a:lnTo>
                  <a:lnTo>
                    <a:pt x="584" y="681"/>
                  </a:lnTo>
                  <a:lnTo>
                    <a:pt x="584" y="675"/>
                  </a:lnTo>
                  <a:lnTo>
                    <a:pt x="584" y="669"/>
                  </a:lnTo>
                  <a:lnTo>
                    <a:pt x="578" y="664"/>
                  </a:lnTo>
                  <a:lnTo>
                    <a:pt x="573" y="664"/>
                  </a:lnTo>
                  <a:lnTo>
                    <a:pt x="573" y="669"/>
                  </a:lnTo>
                  <a:lnTo>
                    <a:pt x="573" y="675"/>
                  </a:lnTo>
                  <a:lnTo>
                    <a:pt x="573" y="681"/>
                  </a:lnTo>
                  <a:lnTo>
                    <a:pt x="567" y="686"/>
                  </a:lnTo>
                  <a:lnTo>
                    <a:pt x="567" y="692"/>
                  </a:lnTo>
                  <a:lnTo>
                    <a:pt x="561" y="692"/>
                  </a:lnTo>
                  <a:lnTo>
                    <a:pt x="561" y="698"/>
                  </a:lnTo>
                  <a:lnTo>
                    <a:pt x="561" y="703"/>
                  </a:lnTo>
                  <a:lnTo>
                    <a:pt x="556" y="703"/>
                  </a:lnTo>
                  <a:lnTo>
                    <a:pt x="550" y="709"/>
                  </a:lnTo>
                  <a:lnTo>
                    <a:pt x="544" y="715"/>
                  </a:lnTo>
                  <a:lnTo>
                    <a:pt x="544" y="720"/>
                  </a:lnTo>
                  <a:lnTo>
                    <a:pt x="539" y="720"/>
                  </a:lnTo>
                  <a:lnTo>
                    <a:pt x="533" y="726"/>
                  </a:lnTo>
                  <a:lnTo>
                    <a:pt x="533" y="732"/>
                  </a:lnTo>
                  <a:lnTo>
                    <a:pt x="533" y="743"/>
                  </a:lnTo>
                  <a:lnTo>
                    <a:pt x="527" y="754"/>
                  </a:lnTo>
                  <a:lnTo>
                    <a:pt x="527" y="760"/>
                  </a:lnTo>
                  <a:lnTo>
                    <a:pt x="527" y="766"/>
                  </a:lnTo>
                  <a:lnTo>
                    <a:pt x="522" y="771"/>
                  </a:lnTo>
                  <a:lnTo>
                    <a:pt x="516" y="771"/>
                  </a:lnTo>
                  <a:lnTo>
                    <a:pt x="510" y="777"/>
                  </a:lnTo>
                  <a:lnTo>
                    <a:pt x="505" y="777"/>
                  </a:lnTo>
                  <a:lnTo>
                    <a:pt x="499" y="777"/>
                  </a:lnTo>
                  <a:lnTo>
                    <a:pt x="493" y="777"/>
                  </a:lnTo>
                  <a:lnTo>
                    <a:pt x="488" y="777"/>
                  </a:lnTo>
                  <a:lnTo>
                    <a:pt x="471" y="777"/>
                  </a:lnTo>
                  <a:lnTo>
                    <a:pt x="471" y="771"/>
                  </a:lnTo>
                  <a:lnTo>
                    <a:pt x="471" y="760"/>
                  </a:lnTo>
                  <a:lnTo>
                    <a:pt x="471" y="754"/>
                  </a:lnTo>
                  <a:lnTo>
                    <a:pt x="471" y="749"/>
                  </a:lnTo>
                  <a:lnTo>
                    <a:pt x="465" y="743"/>
                  </a:lnTo>
                  <a:lnTo>
                    <a:pt x="465" y="737"/>
                  </a:lnTo>
                  <a:lnTo>
                    <a:pt x="465" y="732"/>
                  </a:lnTo>
                  <a:lnTo>
                    <a:pt x="459" y="720"/>
                  </a:lnTo>
                  <a:lnTo>
                    <a:pt x="459" y="709"/>
                  </a:lnTo>
                  <a:lnTo>
                    <a:pt x="459" y="703"/>
                  </a:lnTo>
                  <a:lnTo>
                    <a:pt x="459" y="692"/>
                  </a:lnTo>
                  <a:lnTo>
                    <a:pt x="459" y="686"/>
                  </a:lnTo>
                  <a:lnTo>
                    <a:pt x="459" y="681"/>
                  </a:lnTo>
                  <a:lnTo>
                    <a:pt x="459" y="675"/>
                  </a:lnTo>
                  <a:lnTo>
                    <a:pt x="459" y="669"/>
                  </a:lnTo>
                  <a:lnTo>
                    <a:pt x="459" y="664"/>
                  </a:lnTo>
                  <a:lnTo>
                    <a:pt x="465" y="658"/>
                  </a:lnTo>
                  <a:lnTo>
                    <a:pt x="465" y="652"/>
                  </a:lnTo>
                  <a:lnTo>
                    <a:pt x="471" y="647"/>
                  </a:lnTo>
                  <a:lnTo>
                    <a:pt x="471" y="641"/>
                  </a:lnTo>
                  <a:lnTo>
                    <a:pt x="476" y="635"/>
                  </a:lnTo>
                  <a:lnTo>
                    <a:pt x="476" y="624"/>
                  </a:lnTo>
                  <a:lnTo>
                    <a:pt x="476" y="613"/>
                  </a:lnTo>
                  <a:lnTo>
                    <a:pt x="476" y="607"/>
                  </a:lnTo>
                  <a:lnTo>
                    <a:pt x="482" y="596"/>
                  </a:lnTo>
                  <a:lnTo>
                    <a:pt x="482" y="590"/>
                  </a:lnTo>
                  <a:lnTo>
                    <a:pt x="488" y="590"/>
                  </a:lnTo>
                  <a:lnTo>
                    <a:pt x="488" y="584"/>
                  </a:lnTo>
                  <a:lnTo>
                    <a:pt x="488" y="579"/>
                  </a:lnTo>
                  <a:lnTo>
                    <a:pt x="488" y="567"/>
                  </a:lnTo>
                  <a:lnTo>
                    <a:pt x="493" y="562"/>
                  </a:lnTo>
                  <a:lnTo>
                    <a:pt x="493" y="556"/>
                  </a:lnTo>
                  <a:lnTo>
                    <a:pt x="488" y="550"/>
                  </a:lnTo>
                  <a:lnTo>
                    <a:pt x="488" y="545"/>
                  </a:lnTo>
                  <a:lnTo>
                    <a:pt x="488" y="539"/>
                  </a:lnTo>
                  <a:lnTo>
                    <a:pt x="488" y="533"/>
                  </a:lnTo>
                  <a:lnTo>
                    <a:pt x="482" y="533"/>
                  </a:lnTo>
                  <a:lnTo>
                    <a:pt x="482" y="528"/>
                  </a:lnTo>
                  <a:lnTo>
                    <a:pt x="476" y="522"/>
                  </a:lnTo>
                  <a:lnTo>
                    <a:pt x="476" y="516"/>
                  </a:lnTo>
                  <a:lnTo>
                    <a:pt x="476" y="511"/>
                  </a:lnTo>
                  <a:lnTo>
                    <a:pt x="471" y="511"/>
                  </a:lnTo>
                  <a:lnTo>
                    <a:pt x="465" y="511"/>
                  </a:lnTo>
                  <a:lnTo>
                    <a:pt x="459" y="505"/>
                  </a:lnTo>
                  <a:lnTo>
                    <a:pt x="454" y="511"/>
                  </a:lnTo>
                  <a:lnTo>
                    <a:pt x="448" y="511"/>
                  </a:lnTo>
                  <a:lnTo>
                    <a:pt x="437" y="511"/>
                  </a:lnTo>
                  <a:lnTo>
                    <a:pt x="431" y="511"/>
                  </a:lnTo>
                  <a:lnTo>
                    <a:pt x="431" y="516"/>
                  </a:lnTo>
                  <a:lnTo>
                    <a:pt x="425" y="516"/>
                  </a:lnTo>
                  <a:lnTo>
                    <a:pt x="420" y="516"/>
                  </a:lnTo>
                  <a:lnTo>
                    <a:pt x="414" y="516"/>
                  </a:lnTo>
                  <a:lnTo>
                    <a:pt x="414" y="511"/>
                  </a:lnTo>
                  <a:lnTo>
                    <a:pt x="408" y="511"/>
                  </a:lnTo>
                  <a:lnTo>
                    <a:pt x="408" y="505"/>
                  </a:lnTo>
                  <a:lnTo>
                    <a:pt x="408" y="499"/>
                  </a:lnTo>
                  <a:lnTo>
                    <a:pt x="403" y="494"/>
                  </a:lnTo>
                  <a:lnTo>
                    <a:pt x="403" y="488"/>
                  </a:lnTo>
                  <a:lnTo>
                    <a:pt x="403" y="482"/>
                  </a:lnTo>
                  <a:lnTo>
                    <a:pt x="397" y="488"/>
                  </a:lnTo>
                  <a:lnTo>
                    <a:pt x="391" y="488"/>
                  </a:lnTo>
                  <a:lnTo>
                    <a:pt x="386" y="488"/>
                  </a:lnTo>
                  <a:lnTo>
                    <a:pt x="380" y="488"/>
                  </a:lnTo>
                  <a:lnTo>
                    <a:pt x="380" y="482"/>
                  </a:lnTo>
                  <a:lnTo>
                    <a:pt x="380" y="477"/>
                  </a:lnTo>
                  <a:lnTo>
                    <a:pt x="380" y="471"/>
                  </a:lnTo>
                  <a:lnTo>
                    <a:pt x="374" y="471"/>
                  </a:lnTo>
                  <a:lnTo>
                    <a:pt x="369" y="471"/>
                  </a:lnTo>
                  <a:lnTo>
                    <a:pt x="363" y="471"/>
                  </a:lnTo>
                  <a:lnTo>
                    <a:pt x="357" y="471"/>
                  </a:lnTo>
                  <a:lnTo>
                    <a:pt x="357" y="465"/>
                  </a:lnTo>
                  <a:lnTo>
                    <a:pt x="352" y="465"/>
                  </a:lnTo>
                  <a:lnTo>
                    <a:pt x="352" y="460"/>
                  </a:lnTo>
                  <a:lnTo>
                    <a:pt x="352" y="454"/>
                  </a:lnTo>
                  <a:lnTo>
                    <a:pt x="346" y="454"/>
                  </a:lnTo>
                  <a:lnTo>
                    <a:pt x="340" y="448"/>
                  </a:lnTo>
                  <a:lnTo>
                    <a:pt x="335" y="443"/>
                  </a:lnTo>
                  <a:lnTo>
                    <a:pt x="323" y="443"/>
                  </a:lnTo>
                  <a:lnTo>
                    <a:pt x="318" y="448"/>
                  </a:lnTo>
                  <a:lnTo>
                    <a:pt x="312" y="454"/>
                  </a:lnTo>
                  <a:lnTo>
                    <a:pt x="306" y="454"/>
                  </a:lnTo>
                  <a:lnTo>
                    <a:pt x="301" y="454"/>
                  </a:lnTo>
                  <a:lnTo>
                    <a:pt x="295" y="454"/>
                  </a:lnTo>
                  <a:lnTo>
                    <a:pt x="289" y="454"/>
                  </a:lnTo>
                  <a:lnTo>
                    <a:pt x="284" y="454"/>
                  </a:lnTo>
                  <a:lnTo>
                    <a:pt x="278" y="454"/>
                  </a:lnTo>
                  <a:lnTo>
                    <a:pt x="278" y="448"/>
                  </a:lnTo>
                  <a:lnTo>
                    <a:pt x="278" y="443"/>
                  </a:lnTo>
                  <a:lnTo>
                    <a:pt x="278" y="431"/>
                  </a:lnTo>
                  <a:lnTo>
                    <a:pt x="284" y="431"/>
                  </a:lnTo>
                  <a:lnTo>
                    <a:pt x="289" y="426"/>
                  </a:lnTo>
                  <a:lnTo>
                    <a:pt x="289" y="420"/>
                  </a:lnTo>
                  <a:lnTo>
                    <a:pt x="284" y="414"/>
                  </a:lnTo>
                  <a:lnTo>
                    <a:pt x="278" y="420"/>
                  </a:lnTo>
                  <a:lnTo>
                    <a:pt x="272" y="420"/>
                  </a:lnTo>
                  <a:lnTo>
                    <a:pt x="272" y="414"/>
                  </a:lnTo>
                  <a:lnTo>
                    <a:pt x="267" y="414"/>
                  </a:lnTo>
                  <a:lnTo>
                    <a:pt x="267" y="409"/>
                  </a:lnTo>
                  <a:lnTo>
                    <a:pt x="267" y="403"/>
                  </a:lnTo>
                  <a:lnTo>
                    <a:pt x="261" y="403"/>
                  </a:lnTo>
                  <a:lnTo>
                    <a:pt x="255" y="409"/>
                  </a:lnTo>
                  <a:lnTo>
                    <a:pt x="244" y="403"/>
                  </a:lnTo>
                  <a:lnTo>
                    <a:pt x="238" y="403"/>
                  </a:lnTo>
                  <a:lnTo>
                    <a:pt x="238" y="397"/>
                  </a:lnTo>
                  <a:lnTo>
                    <a:pt x="233" y="397"/>
                  </a:lnTo>
                  <a:lnTo>
                    <a:pt x="227" y="392"/>
                  </a:lnTo>
                  <a:lnTo>
                    <a:pt x="227" y="386"/>
                  </a:lnTo>
                  <a:lnTo>
                    <a:pt x="221" y="386"/>
                  </a:lnTo>
                  <a:lnTo>
                    <a:pt x="221" y="380"/>
                  </a:lnTo>
                  <a:lnTo>
                    <a:pt x="216" y="375"/>
                  </a:lnTo>
                  <a:lnTo>
                    <a:pt x="210" y="375"/>
                  </a:lnTo>
                  <a:lnTo>
                    <a:pt x="210" y="369"/>
                  </a:lnTo>
                  <a:lnTo>
                    <a:pt x="204" y="363"/>
                  </a:lnTo>
                  <a:lnTo>
                    <a:pt x="204" y="358"/>
                  </a:lnTo>
                  <a:lnTo>
                    <a:pt x="210" y="346"/>
                  </a:lnTo>
                  <a:lnTo>
                    <a:pt x="210" y="341"/>
                  </a:lnTo>
                  <a:lnTo>
                    <a:pt x="210" y="335"/>
                  </a:lnTo>
                  <a:lnTo>
                    <a:pt x="204" y="335"/>
                  </a:lnTo>
                  <a:lnTo>
                    <a:pt x="199" y="335"/>
                  </a:lnTo>
                  <a:lnTo>
                    <a:pt x="182" y="335"/>
                  </a:lnTo>
                  <a:lnTo>
                    <a:pt x="170" y="341"/>
                  </a:lnTo>
                  <a:lnTo>
                    <a:pt x="165" y="341"/>
                  </a:lnTo>
                  <a:lnTo>
                    <a:pt x="165" y="335"/>
                  </a:lnTo>
                  <a:lnTo>
                    <a:pt x="153" y="335"/>
                  </a:lnTo>
                  <a:lnTo>
                    <a:pt x="148" y="335"/>
                  </a:lnTo>
                  <a:lnTo>
                    <a:pt x="148" y="329"/>
                  </a:lnTo>
                  <a:lnTo>
                    <a:pt x="142" y="329"/>
                  </a:lnTo>
                  <a:lnTo>
                    <a:pt x="136" y="329"/>
                  </a:lnTo>
                  <a:lnTo>
                    <a:pt x="131" y="329"/>
                  </a:lnTo>
                  <a:lnTo>
                    <a:pt x="125" y="329"/>
                  </a:lnTo>
                  <a:lnTo>
                    <a:pt x="125" y="323"/>
                  </a:lnTo>
                  <a:lnTo>
                    <a:pt x="119" y="323"/>
                  </a:lnTo>
                  <a:lnTo>
                    <a:pt x="119" y="318"/>
                  </a:lnTo>
                  <a:lnTo>
                    <a:pt x="114" y="318"/>
                  </a:lnTo>
                  <a:lnTo>
                    <a:pt x="108" y="318"/>
                  </a:lnTo>
                  <a:lnTo>
                    <a:pt x="102" y="312"/>
                  </a:lnTo>
                  <a:lnTo>
                    <a:pt x="97" y="312"/>
                  </a:lnTo>
                  <a:lnTo>
                    <a:pt x="97" y="306"/>
                  </a:lnTo>
                  <a:lnTo>
                    <a:pt x="91" y="301"/>
                  </a:lnTo>
                  <a:lnTo>
                    <a:pt x="91" y="295"/>
                  </a:lnTo>
                  <a:lnTo>
                    <a:pt x="91" y="289"/>
                  </a:lnTo>
                  <a:lnTo>
                    <a:pt x="91" y="284"/>
                  </a:lnTo>
                  <a:lnTo>
                    <a:pt x="91" y="278"/>
                  </a:lnTo>
                  <a:lnTo>
                    <a:pt x="97" y="278"/>
                  </a:lnTo>
                  <a:lnTo>
                    <a:pt x="97" y="272"/>
                  </a:lnTo>
                  <a:lnTo>
                    <a:pt x="102" y="272"/>
                  </a:lnTo>
                  <a:lnTo>
                    <a:pt x="102" y="267"/>
                  </a:lnTo>
                  <a:lnTo>
                    <a:pt x="108" y="267"/>
                  </a:lnTo>
                  <a:lnTo>
                    <a:pt x="114" y="261"/>
                  </a:lnTo>
                  <a:lnTo>
                    <a:pt x="114" y="250"/>
                  </a:lnTo>
                  <a:lnTo>
                    <a:pt x="108" y="250"/>
                  </a:lnTo>
                  <a:lnTo>
                    <a:pt x="108" y="244"/>
                  </a:lnTo>
                  <a:lnTo>
                    <a:pt x="102" y="244"/>
                  </a:lnTo>
                  <a:lnTo>
                    <a:pt x="97" y="244"/>
                  </a:lnTo>
                  <a:lnTo>
                    <a:pt x="97" y="250"/>
                  </a:lnTo>
                  <a:lnTo>
                    <a:pt x="91" y="250"/>
                  </a:lnTo>
                  <a:lnTo>
                    <a:pt x="85" y="250"/>
                  </a:lnTo>
                  <a:lnTo>
                    <a:pt x="80" y="250"/>
                  </a:lnTo>
                  <a:lnTo>
                    <a:pt x="80" y="255"/>
                  </a:lnTo>
                  <a:lnTo>
                    <a:pt x="74" y="255"/>
                  </a:lnTo>
                  <a:lnTo>
                    <a:pt x="68" y="255"/>
                  </a:lnTo>
                  <a:lnTo>
                    <a:pt x="68" y="261"/>
                  </a:lnTo>
                  <a:lnTo>
                    <a:pt x="63" y="261"/>
                  </a:lnTo>
                  <a:lnTo>
                    <a:pt x="63" y="250"/>
                  </a:lnTo>
                  <a:lnTo>
                    <a:pt x="68" y="244"/>
                  </a:lnTo>
                  <a:close/>
                </a:path>
              </a:pathLst>
            </a:custGeom>
            <a:solidFill>
              <a:srgbClr val="F2F2F2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gray">
            <a:xfrm>
              <a:off x="200490" y="2485901"/>
              <a:ext cx="1734167" cy="1043911"/>
            </a:xfrm>
            <a:custGeom>
              <a:avLst/>
              <a:gdLst>
                <a:gd name="T0" fmla="*/ 2147483647 w 1235"/>
                <a:gd name="T1" fmla="*/ 2147483647 h 822"/>
                <a:gd name="T2" fmla="*/ 2147483647 w 1235"/>
                <a:gd name="T3" fmla="*/ 2147483647 h 822"/>
                <a:gd name="T4" fmla="*/ 2147483647 w 1235"/>
                <a:gd name="T5" fmla="*/ 2147483647 h 822"/>
                <a:gd name="T6" fmla="*/ 2147483647 w 1235"/>
                <a:gd name="T7" fmla="*/ 2147483647 h 822"/>
                <a:gd name="T8" fmla="*/ 2147483647 w 1235"/>
                <a:gd name="T9" fmla="*/ 2147483647 h 822"/>
                <a:gd name="T10" fmla="*/ 2147483647 w 1235"/>
                <a:gd name="T11" fmla="*/ 2147483647 h 822"/>
                <a:gd name="T12" fmla="*/ 2147483647 w 1235"/>
                <a:gd name="T13" fmla="*/ 2147483647 h 822"/>
                <a:gd name="T14" fmla="*/ 2147483647 w 1235"/>
                <a:gd name="T15" fmla="*/ 2147483647 h 822"/>
                <a:gd name="T16" fmla="*/ 2147483647 w 1235"/>
                <a:gd name="T17" fmla="*/ 2147483647 h 822"/>
                <a:gd name="T18" fmla="*/ 2147483647 w 1235"/>
                <a:gd name="T19" fmla="*/ 2147483647 h 822"/>
                <a:gd name="T20" fmla="*/ 2147483647 w 1235"/>
                <a:gd name="T21" fmla="*/ 2147483647 h 822"/>
                <a:gd name="T22" fmla="*/ 2147483647 w 1235"/>
                <a:gd name="T23" fmla="*/ 2147483647 h 822"/>
                <a:gd name="T24" fmla="*/ 2147483647 w 1235"/>
                <a:gd name="T25" fmla="*/ 2147483647 h 822"/>
                <a:gd name="T26" fmla="*/ 2147483647 w 1235"/>
                <a:gd name="T27" fmla="*/ 2147483647 h 822"/>
                <a:gd name="T28" fmla="*/ 2147483647 w 1235"/>
                <a:gd name="T29" fmla="*/ 2147483647 h 822"/>
                <a:gd name="T30" fmla="*/ 2147483647 w 1235"/>
                <a:gd name="T31" fmla="*/ 2147483647 h 822"/>
                <a:gd name="T32" fmla="*/ 2147483647 w 1235"/>
                <a:gd name="T33" fmla="*/ 2147483647 h 822"/>
                <a:gd name="T34" fmla="*/ 2147483647 w 1235"/>
                <a:gd name="T35" fmla="*/ 2147483647 h 822"/>
                <a:gd name="T36" fmla="*/ 2147483647 w 1235"/>
                <a:gd name="T37" fmla="*/ 2147483647 h 822"/>
                <a:gd name="T38" fmla="*/ 2147483647 w 1235"/>
                <a:gd name="T39" fmla="*/ 2147483647 h 822"/>
                <a:gd name="T40" fmla="*/ 2147483647 w 1235"/>
                <a:gd name="T41" fmla="*/ 2147483647 h 822"/>
                <a:gd name="T42" fmla="*/ 2147483647 w 1235"/>
                <a:gd name="T43" fmla="*/ 2147483647 h 822"/>
                <a:gd name="T44" fmla="*/ 2147483647 w 1235"/>
                <a:gd name="T45" fmla="*/ 2147483647 h 822"/>
                <a:gd name="T46" fmla="*/ 2147483647 w 1235"/>
                <a:gd name="T47" fmla="*/ 2147483647 h 822"/>
                <a:gd name="T48" fmla="*/ 2147483647 w 1235"/>
                <a:gd name="T49" fmla="*/ 2147483647 h 822"/>
                <a:gd name="T50" fmla="*/ 2147483647 w 1235"/>
                <a:gd name="T51" fmla="*/ 2147483647 h 822"/>
                <a:gd name="T52" fmla="*/ 2147483647 w 1235"/>
                <a:gd name="T53" fmla="*/ 2147483647 h 822"/>
                <a:gd name="T54" fmla="*/ 2147483647 w 1235"/>
                <a:gd name="T55" fmla="*/ 2147483647 h 822"/>
                <a:gd name="T56" fmla="*/ 2147483647 w 1235"/>
                <a:gd name="T57" fmla="*/ 2147483647 h 822"/>
                <a:gd name="T58" fmla="*/ 2147483647 w 1235"/>
                <a:gd name="T59" fmla="*/ 2147483647 h 822"/>
                <a:gd name="T60" fmla="*/ 2147483647 w 1235"/>
                <a:gd name="T61" fmla="*/ 2147483647 h 822"/>
                <a:gd name="T62" fmla="*/ 2147483647 w 1235"/>
                <a:gd name="T63" fmla="*/ 2147483647 h 822"/>
                <a:gd name="T64" fmla="*/ 2147483647 w 1235"/>
                <a:gd name="T65" fmla="*/ 2147483647 h 822"/>
                <a:gd name="T66" fmla="*/ 2147483647 w 1235"/>
                <a:gd name="T67" fmla="*/ 2147483647 h 822"/>
                <a:gd name="T68" fmla="*/ 2147483647 w 1235"/>
                <a:gd name="T69" fmla="*/ 2147483647 h 822"/>
                <a:gd name="T70" fmla="*/ 2147483647 w 1235"/>
                <a:gd name="T71" fmla="*/ 2147483647 h 822"/>
                <a:gd name="T72" fmla="*/ 2147483647 w 1235"/>
                <a:gd name="T73" fmla="*/ 2147483647 h 822"/>
                <a:gd name="T74" fmla="*/ 2147483647 w 1235"/>
                <a:gd name="T75" fmla="*/ 2147483647 h 822"/>
                <a:gd name="T76" fmla="*/ 2147483647 w 1235"/>
                <a:gd name="T77" fmla="*/ 2147483647 h 822"/>
                <a:gd name="T78" fmla="*/ 2147483647 w 1235"/>
                <a:gd name="T79" fmla="*/ 2147483647 h 822"/>
                <a:gd name="T80" fmla="*/ 2147483647 w 1235"/>
                <a:gd name="T81" fmla="*/ 2147483647 h 822"/>
                <a:gd name="T82" fmla="*/ 2147483647 w 1235"/>
                <a:gd name="T83" fmla="*/ 2147483647 h 822"/>
                <a:gd name="T84" fmla="*/ 2147483647 w 1235"/>
                <a:gd name="T85" fmla="*/ 2147483647 h 822"/>
                <a:gd name="T86" fmla="*/ 2147483647 w 1235"/>
                <a:gd name="T87" fmla="*/ 2147483647 h 822"/>
                <a:gd name="T88" fmla="*/ 2147483647 w 1235"/>
                <a:gd name="T89" fmla="*/ 2147483647 h 822"/>
                <a:gd name="T90" fmla="*/ 2147483647 w 1235"/>
                <a:gd name="T91" fmla="*/ 2147483647 h 822"/>
                <a:gd name="T92" fmla="*/ 2147483647 w 1235"/>
                <a:gd name="T93" fmla="*/ 2147483647 h 822"/>
                <a:gd name="T94" fmla="*/ 2147483647 w 1235"/>
                <a:gd name="T95" fmla="*/ 2147483647 h 822"/>
                <a:gd name="T96" fmla="*/ 2147483647 w 1235"/>
                <a:gd name="T97" fmla="*/ 2147483647 h 822"/>
                <a:gd name="T98" fmla="*/ 2147483647 w 1235"/>
                <a:gd name="T99" fmla="*/ 2147483647 h 822"/>
                <a:gd name="T100" fmla="*/ 2147483647 w 1235"/>
                <a:gd name="T101" fmla="*/ 2147483647 h 822"/>
                <a:gd name="T102" fmla="*/ 2147483647 w 1235"/>
                <a:gd name="T103" fmla="*/ 2147483647 h 822"/>
                <a:gd name="T104" fmla="*/ 2147483647 w 1235"/>
                <a:gd name="T105" fmla="*/ 2147483647 h 822"/>
                <a:gd name="T106" fmla="*/ 2147483647 w 1235"/>
                <a:gd name="T107" fmla="*/ 2147483647 h 822"/>
                <a:gd name="T108" fmla="*/ 2147483647 w 1235"/>
                <a:gd name="T109" fmla="*/ 2147483647 h 822"/>
                <a:gd name="T110" fmla="*/ 2147483647 w 1235"/>
                <a:gd name="T111" fmla="*/ 2147483647 h 822"/>
                <a:gd name="T112" fmla="*/ 2147483647 w 1235"/>
                <a:gd name="T113" fmla="*/ 2147483647 h 822"/>
                <a:gd name="T114" fmla="*/ 2147483647 w 1235"/>
                <a:gd name="T115" fmla="*/ 2147483647 h 822"/>
                <a:gd name="T116" fmla="*/ 2147483647 w 1235"/>
                <a:gd name="T117" fmla="*/ 2147483647 h 8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235"/>
                <a:gd name="T178" fmla="*/ 0 h 822"/>
                <a:gd name="T179" fmla="*/ 1235 w 1235"/>
                <a:gd name="T180" fmla="*/ 822 h 8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235" h="822">
                  <a:moveTo>
                    <a:pt x="629" y="759"/>
                  </a:moveTo>
                  <a:lnTo>
                    <a:pt x="629" y="765"/>
                  </a:lnTo>
                  <a:lnTo>
                    <a:pt x="634" y="771"/>
                  </a:lnTo>
                  <a:lnTo>
                    <a:pt x="634" y="782"/>
                  </a:lnTo>
                  <a:lnTo>
                    <a:pt x="634" y="793"/>
                  </a:lnTo>
                  <a:lnTo>
                    <a:pt x="634" y="799"/>
                  </a:lnTo>
                  <a:lnTo>
                    <a:pt x="629" y="805"/>
                  </a:lnTo>
                  <a:lnTo>
                    <a:pt x="617" y="810"/>
                  </a:lnTo>
                  <a:lnTo>
                    <a:pt x="617" y="816"/>
                  </a:lnTo>
                  <a:lnTo>
                    <a:pt x="612" y="816"/>
                  </a:lnTo>
                  <a:lnTo>
                    <a:pt x="606" y="822"/>
                  </a:lnTo>
                  <a:lnTo>
                    <a:pt x="606" y="816"/>
                  </a:lnTo>
                  <a:lnTo>
                    <a:pt x="595" y="810"/>
                  </a:lnTo>
                  <a:lnTo>
                    <a:pt x="595" y="805"/>
                  </a:lnTo>
                  <a:lnTo>
                    <a:pt x="595" y="799"/>
                  </a:lnTo>
                  <a:lnTo>
                    <a:pt x="589" y="793"/>
                  </a:lnTo>
                  <a:lnTo>
                    <a:pt x="589" y="788"/>
                  </a:lnTo>
                  <a:lnTo>
                    <a:pt x="595" y="788"/>
                  </a:lnTo>
                  <a:lnTo>
                    <a:pt x="595" y="782"/>
                  </a:lnTo>
                  <a:lnTo>
                    <a:pt x="595" y="776"/>
                  </a:lnTo>
                  <a:lnTo>
                    <a:pt x="600" y="776"/>
                  </a:lnTo>
                  <a:lnTo>
                    <a:pt x="600" y="771"/>
                  </a:lnTo>
                  <a:lnTo>
                    <a:pt x="600" y="765"/>
                  </a:lnTo>
                  <a:lnTo>
                    <a:pt x="606" y="765"/>
                  </a:lnTo>
                  <a:lnTo>
                    <a:pt x="612" y="765"/>
                  </a:lnTo>
                  <a:lnTo>
                    <a:pt x="617" y="765"/>
                  </a:lnTo>
                  <a:lnTo>
                    <a:pt x="623" y="765"/>
                  </a:lnTo>
                  <a:lnTo>
                    <a:pt x="629" y="759"/>
                  </a:lnTo>
                  <a:close/>
                  <a:moveTo>
                    <a:pt x="5" y="538"/>
                  </a:moveTo>
                  <a:lnTo>
                    <a:pt x="5" y="533"/>
                  </a:lnTo>
                  <a:lnTo>
                    <a:pt x="5" y="527"/>
                  </a:lnTo>
                  <a:lnTo>
                    <a:pt x="5" y="521"/>
                  </a:lnTo>
                  <a:lnTo>
                    <a:pt x="5" y="516"/>
                  </a:lnTo>
                  <a:lnTo>
                    <a:pt x="5" y="510"/>
                  </a:lnTo>
                  <a:lnTo>
                    <a:pt x="0" y="510"/>
                  </a:lnTo>
                  <a:lnTo>
                    <a:pt x="5" y="504"/>
                  </a:lnTo>
                  <a:lnTo>
                    <a:pt x="0" y="499"/>
                  </a:lnTo>
                  <a:lnTo>
                    <a:pt x="5" y="499"/>
                  </a:lnTo>
                  <a:lnTo>
                    <a:pt x="5" y="493"/>
                  </a:lnTo>
                  <a:lnTo>
                    <a:pt x="5" y="487"/>
                  </a:lnTo>
                  <a:lnTo>
                    <a:pt x="5" y="482"/>
                  </a:lnTo>
                  <a:lnTo>
                    <a:pt x="5" y="476"/>
                  </a:lnTo>
                  <a:lnTo>
                    <a:pt x="0" y="476"/>
                  </a:lnTo>
                  <a:lnTo>
                    <a:pt x="0" y="470"/>
                  </a:lnTo>
                  <a:lnTo>
                    <a:pt x="0" y="465"/>
                  </a:lnTo>
                  <a:lnTo>
                    <a:pt x="0" y="459"/>
                  </a:lnTo>
                  <a:lnTo>
                    <a:pt x="5" y="459"/>
                  </a:lnTo>
                  <a:lnTo>
                    <a:pt x="11" y="459"/>
                  </a:lnTo>
                  <a:lnTo>
                    <a:pt x="11" y="453"/>
                  </a:lnTo>
                  <a:lnTo>
                    <a:pt x="11" y="448"/>
                  </a:lnTo>
                  <a:lnTo>
                    <a:pt x="11" y="442"/>
                  </a:lnTo>
                  <a:lnTo>
                    <a:pt x="11" y="436"/>
                  </a:lnTo>
                  <a:lnTo>
                    <a:pt x="5" y="436"/>
                  </a:lnTo>
                  <a:lnTo>
                    <a:pt x="11" y="436"/>
                  </a:lnTo>
                  <a:lnTo>
                    <a:pt x="11" y="425"/>
                  </a:lnTo>
                  <a:lnTo>
                    <a:pt x="11" y="419"/>
                  </a:lnTo>
                  <a:lnTo>
                    <a:pt x="11" y="414"/>
                  </a:lnTo>
                  <a:lnTo>
                    <a:pt x="17" y="408"/>
                  </a:lnTo>
                  <a:lnTo>
                    <a:pt x="17" y="402"/>
                  </a:lnTo>
                  <a:lnTo>
                    <a:pt x="11" y="402"/>
                  </a:lnTo>
                  <a:lnTo>
                    <a:pt x="17" y="402"/>
                  </a:lnTo>
                  <a:lnTo>
                    <a:pt x="17" y="397"/>
                  </a:lnTo>
                  <a:lnTo>
                    <a:pt x="17" y="391"/>
                  </a:lnTo>
                  <a:lnTo>
                    <a:pt x="17" y="385"/>
                  </a:lnTo>
                  <a:lnTo>
                    <a:pt x="11" y="385"/>
                  </a:lnTo>
                  <a:lnTo>
                    <a:pt x="17" y="380"/>
                  </a:lnTo>
                  <a:lnTo>
                    <a:pt x="17" y="374"/>
                  </a:lnTo>
                  <a:lnTo>
                    <a:pt x="17" y="368"/>
                  </a:lnTo>
                  <a:lnTo>
                    <a:pt x="17" y="363"/>
                  </a:lnTo>
                  <a:lnTo>
                    <a:pt x="39" y="363"/>
                  </a:lnTo>
                  <a:lnTo>
                    <a:pt x="45" y="363"/>
                  </a:lnTo>
                  <a:lnTo>
                    <a:pt x="51" y="363"/>
                  </a:lnTo>
                  <a:lnTo>
                    <a:pt x="56" y="357"/>
                  </a:lnTo>
                  <a:lnTo>
                    <a:pt x="62" y="357"/>
                  </a:lnTo>
                  <a:lnTo>
                    <a:pt x="79" y="351"/>
                  </a:lnTo>
                  <a:lnTo>
                    <a:pt x="79" y="357"/>
                  </a:lnTo>
                  <a:lnTo>
                    <a:pt x="90" y="363"/>
                  </a:lnTo>
                  <a:lnTo>
                    <a:pt x="96" y="363"/>
                  </a:lnTo>
                  <a:lnTo>
                    <a:pt x="102" y="357"/>
                  </a:lnTo>
                  <a:lnTo>
                    <a:pt x="107" y="357"/>
                  </a:lnTo>
                  <a:lnTo>
                    <a:pt x="113" y="357"/>
                  </a:lnTo>
                  <a:lnTo>
                    <a:pt x="124" y="351"/>
                  </a:lnTo>
                  <a:lnTo>
                    <a:pt x="124" y="340"/>
                  </a:lnTo>
                  <a:lnTo>
                    <a:pt x="130" y="334"/>
                  </a:lnTo>
                  <a:lnTo>
                    <a:pt x="136" y="317"/>
                  </a:lnTo>
                  <a:lnTo>
                    <a:pt x="136" y="312"/>
                  </a:lnTo>
                  <a:lnTo>
                    <a:pt x="136" y="300"/>
                  </a:lnTo>
                  <a:lnTo>
                    <a:pt x="141" y="295"/>
                  </a:lnTo>
                  <a:lnTo>
                    <a:pt x="147" y="289"/>
                  </a:lnTo>
                  <a:lnTo>
                    <a:pt x="153" y="289"/>
                  </a:lnTo>
                  <a:lnTo>
                    <a:pt x="153" y="283"/>
                  </a:lnTo>
                  <a:lnTo>
                    <a:pt x="147" y="278"/>
                  </a:lnTo>
                  <a:lnTo>
                    <a:pt x="147" y="272"/>
                  </a:lnTo>
                  <a:lnTo>
                    <a:pt x="147" y="266"/>
                  </a:lnTo>
                  <a:lnTo>
                    <a:pt x="147" y="261"/>
                  </a:lnTo>
                  <a:lnTo>
                    <a:pt x="147" y="255"/>
                  </a:lnTo>
                  <a:lnTo>
                    <a:pt x="141" y="238"/>
                  </a:lnTo>
                  <a:lnTo>
                    <a:pt x="141" y="232"/>
                  </a:lnTo>
                  <a:lnTo>
                    <a:pt x="141" y="221"/>
                  </a:lnTo>
                  <a:lnTo>
                    <a:pt x="147" y="215"/>
                  </a:lnTo>
                  <a:lnTo>
                    <a:pt x="147" y="210"/>
                  </a:lnTo>
                  <a:lnTo>
                    <a:pt x="153" y="210"/>
                  </a:lnTo>
                  <a:lnTo>
                    <a:pt x="158" y="210"/>
                  </a:lnTo>
                  <a:lnTo>
                    <a:pt x="158" y="204"/>
                  </a:lnTo>
                  <a:lnTo>
                    <a:pt x="164" y="204"/>
                  </a:lnTo>
                  <a:lnTo>
                    <a:pt x="170" y="193"/>
                  </a:lnTo>
                  <a:lnTo>
                    <a:pt x="170" y="187"/>
                  </a:lnTo>
                  <a:lnTo>
                    <a:pt x="175" y="181"/>
                  </a:lnTo>
                  <a:lnTo>
                    <a:pt x="181" y="176"/>
                  </a:lnTo>
                  <a:lnTo>
                    <a:pt x="181" y="170"/>
                  </a:lnTo>
                  <a:lnTo>
                    <a:pt x="187" y="170"/>
                  </a:lnTo>
                  <a:lnTo>
                    <a:pt x="187" y="159"/>
                  </a:lnTo>
                  <a:lnTo>
                    <a:pt x="187" y="153"/>
                  </a:lnTo>
                  <a:lnTo>
                    <a:pt x="192" y="153"/>
                  </a:lnTo>
                  <a:lnTo>
                    <a:pt x="198" y="153"/>
                  </a:lnTo>
                  <a:lnTo>
                    <a:pt x="204" y="153"/>
                  </a:lnTo>
                  <a:lnTo>
                    <a:pt x="209" y="153"/>
                  </a:lnTo>
                  <a:lnTo>
                    <a:pt x="215" y="147"/>
                  </a:lnTo>
                  <a:lnTo>
                    <a:pt x="221" y="142"/>
                  </a:lnTo>
                  <a:lnTo>
                    <a:pt x="221" y="136"/>
                  </a:lnTo>
                  <a:lnTo>
                    <a:pt x="215" y="130"/>
                  </a:lnTo>
                  <a:lnTo>
                    <a:pt x="209" y="119"/>
                  </a:lnTo>
                  <a:lnTo>
                    <a:pt x="209" y="113"/>
                  </a:lnTo>
                  <a:lnTo>
                    <a:pt x="209" y="108"/>
                  </a:lnTo>
                  <a:lnTo>
                    <a:pt x="209" y="102"/>
                  </a:lnTo>
                  <a:lnTo>
                    <a:pt x="221" y="96"/>
                  </a:lnTo>
                  <a:lnTo>
                    <a:pt x="221" y="91"/>
                  </a:lnTo>
                  <a:lnTo>
                    <a:pt x="226" y="91"/>
                  </a:lnTo>
                  <a:lnTo>
                    <a:pt x="232" y="91"/>
                  </a:lnTo>
                  <a:lnTo>
                    <a:pt x="243" y="85"/>
                  </a:lnTo>
                  <a:lnTo>
                    <a:pt x="255" y="79"/>
                  </a:lnTo>
                  <a:lnTo>
                    <a:pt x="266" y="79"/>
                  </a:lnTo>
                  <a:lnTo>
                    <a:pt x="272" y="79"/>
                  </a:lnTo>
                  <a:lnTo>
                    <a:pt x="277" y="79"/>
                  </a:lnTo>
                  <a:lnTo>
                    <a:pt x="283" y="79"/>
                  </a:lnTo>
                  <a:lnTo>
                    <a:pt x="289" y="79"/>
                  </a:lnTo>
                  <a:lnTo>
                    <a:pt x="289" y="74"/>
                  </a:lnTo>
                  <a:lnTo>
                    <a:pt x="294" y="68"/>
                  </a:lnTo>
                  <a:lnTo>
                    <a:pt x="294" y="62"/>
                  </a:lnTo>
                  <a:lnTo>
                    <a:pt x="300" y="57"/>
                  </a:lnTo>
                  <a:lnTo>
                    <a:pt x="306" y="51"/>
                  </a:lnTo>
                  <a:lnTo>
                    <a:pt x="311" y="45"/>
                  </a:lnTo>
                  <a:lnTo>
                    <a:pt x="311" y="40"/>
                  </a:lnTo>
                  <a:lnTo>
                    <a:pt x="311" y="34"/>
                  </a:lnTo>
                  <a:lnTo>
                    <a:pt x="311" y="28"/>
                  </a:lnTo>
                  <a:lnTo>
                    <a:pt x="311" y="23"/>
                  </a:lnTo>
                  <a:lnTo>
                    <a:pt x="311" y="17"/>
                  </a:lnTo>
                  <a:lnTo>
                    <a:pt x="311" y="11"/>
                  </a:lnTo>
                  <a:lnTo>
                    <a:pt x="311" y="6"/>
                  </a:lnTo>
                  <a:lnTo>
                    <a:pt x="317" y="0"/>
                  </a:lnTo>
                  <a:lnTo>
                    <a:pt x="323" y="6"/>
                  </a:lnTo>
                  <a:lnTo>
                    <a:pt x="328" y="11"/>
                  </a:lnTo>
                  <a:lnTo>
                    <a:pt x="334" y="11"/>
                  </a:lnTo>
                  <a:lnTo>
                    <a:pt x="357" y="11"/>
                  </a:lnTo>
                  <a:lnTo>
                    <a:pt x="362" y="11"/>
                  </a:lnTo>
                  <a:lnTo>
                    <a:pt x="368" y="17"/>
                  </a:lnTo>
                  <a:lnTo>
                    <a:pt x="368" y="23"/>
                  </a:lnTo>
                  <a:lnTo>
                    <a:pt x="374" y="23"/>
                  </a:lnTo>
                  <a:lnTo>
                    <a:pt x="374" y="28"/>
                  </a:lnTo>
                  <a:lnTo>
                    <a:pt x="379" y="28"/>
                  </a:lnTo>
                  <a:lnTo>
                    <a:pt x="385" y="28"/>
                  </a:lnTo>
                  <a:lnTo>
                    <a:pt x="385" y="23"/>
                  </a:lnTo>
                  <a:lnTo>
                    <a:pt x="391" y="23"/>
                  </a:lnTo>
                  <a:lnTo>
                    <a:pt x="391" y="17"/>
                  </a:lnTo>
                  <a:lnTo>
                    <a:pt x="391" y="11"/>
                  </a:lnTo>
                  <a:lnTo>
                    <a:pt x="396" y="11"/>
                  </a:lnTo>
                  <a:lnTo>
                    <a:pt x="396" y="6"/>
                  </a:lnTo>
                  <a:lnTo>
                    <a:pt x="402" y="11"/>
                  </a:lnTo>
                  <a:lnTo>
                    <a:pt x="408" y="23"/>
                  </a:lnTo>
                  <a:lnTo>
                    <a:pt x="413" y="23"/>
                  </a:lnTo>
                  <a:lnTo>
                    <a:pt x="419" y="28"/>
                  </a:lnTo>
                  <a:lnTo>
                    <a:pt x="413" y="28"/>
                  </a:lnTo>
                  <a:lnTo>
                    <a:pt x="413" y="34"/>
                  </a:lnTo>
                  <a:lnTo>
                    <a:pt x="408" y="40"/>
                  </a:lnTo>
                  <a:lnTo>
                    <a:pt x="413" y="45"/>
                  </a:lnTo>
                  <a:lnTo>
                    <a:pt x="419" y="45"/>
                  </a:lnTo>
                  <a:lnTo>
                    <a:pt x="425" y="40"/>
                  </a:lnTo>
                  <a:lnTo>
                    <a:pt x="430" y="45"/>
                  </a:lnTo>
                  <a:lnTo>
                    <a:pt x="430" y="51"/>
                  </a:lnTo>
                  <a:lnTo>
                    <a:pt x="430" y="57"/>
                  </a:lnTo>
                  <a:lnTo>
                    <a:pt x="436" y="57"/>
                  </a:lnTo>
                  <a:lnTo>
                    <a:pt x="442" y="57"/>
                  </a:lnTo>
                  <a:lnTo>
                    <a:pt x="442" y="62"/>
                  </a:lnTo>
                  <a:lnTo>
                    <a:pt x="442" y="68"/>
                  </a:lnTo>
                  <a:lnTo>
                    <a:pt x="436" y="68"/>
                  </a:lnTo>
                  <a:lnTo>
                    <a:pt x="430" y="62"/>
                  </a:lnTo>
                  <a:lnTo>
                    <a:pt x="430" y="68"/>
                  </a:lnTo>
                  <a:lnTo>
                    <a:pt x="425" y="68"/>
                  </a:lnTo>
                  <a:lnTo>
                    <a:pt x="430" y="68"/>
                  </a:lnTo>
                  <a:lnTo>
                    <a:pt x="430" y="74"/>
                  </a:lnTo>
                  <a:lnTo>
                    <a:pt x="436" y="79"/>
                  </a:lnTo>
                  <a:lnTo>
                    <a:pt x="442" y="79"/>
                  </a:lnTo>
                  <a:lnTo>
                    <a:pt x="447" y="79"/>
                  </a:lnTo>
                  <a:lnTo>
                    <a:pt x="453" y="79"/>
                  </a:lnTo>
                  <a:lnTo>
                    <a:pt x="459" y="79"/>
                  </a:lnTo>
                  <a:lnTo>
                    <a:pt x="459" y="91"/>
                  </a:lnTo>
                  <a:lnTo>
                    <a:pt x="464" y="91"/>
                  </a:lnTo>
                  <a:lnTo>
                    <a:pt x="470" y="91"/>
                  </a:lnTo>
                  <a:lnTo>
                    <a:pt x="476" y="96"/>
                  </a:lnTo>
                  <a:lnTo>
                    <a:pt x="481" y="96"/>
                  </a:lnTo>
                  <a:lnTo>
                    <a:pt x="481" y="91"/>
                  </a:lnTo>
                  <a:lnTo>
                    <a:pt x="487" y="85"/>
                  </a:lnTo>
                  <a:lnTo>
                    <a:pt x="487" y="79"/>
                  </a:lnTo>
                  <a:lnTo>
                    <a:pt x="493" y="79"/>
                  </a:lnTo>
                  <a:lnTo>
                    <a:pt x="493" y="85"/>
                  </a:lnTo>
                  <a:lnTo>
                    <a:pt x="493" y="91"/>
                  </a:lnTo>
                  <a:lnTo>
                    <a:pt x="498" y="91"/>
                  </a:lnTo>
                  <a:lnTo>
                    <a:pt x="504" y="91"/>
                  </a:lnTo>
                  <a:lnTo>
                    <a:pt x="504" y="96"/>
                  </a:lnTo>
                  <a:lnTo>
                    <a:pt x="510" y="102"/>
                  </a:lnTo>
                  <a:lnTo>
                    <a:pt x="510" y="108"/>
                  </a:lnTo>
                  <a:lnTo>
                    <a:pt x="515" y="108"/>
                  </a:lnTo>
                  <a:lnTo>
                    <a:pt x="515" y="113"/>
                  </a:lnTo>
                  <a:lnTo>
                    <a:pt x="515" y="119"/>
                  </a:lnTo>
                  <a:lnTo>
                    <a:pt x="521" y="119"/>
                  </a:lnTo>
                  <a:lnTo>
                    <a:pt x="527" y="125"/>
                  </a:lnTo>
                  <a:lnTo>
                    <a:pt x="532" y="130"/>
                  </a:lnTo>
                  <a:lnTo>
                    <a:pt x="532" y="136"/>
                  </a:lnTo>
                  <a:lnTo>
                    <a:pt x="544" y="147"/>
                  </a:lnTo>
                  <a:lnTo>
                    <a:pt x="555" y="153"/>
                  </a:lnTo>
                  <a:lnTo>
                    <a:pt x="555" y="159"/>
                  </a:lnTo>
                  <a:lnTo>
                    <a:pt x="555" y="164"/>
                  </a:lnTo>
                  <a:lnTo>
                    <a:pt x="561" y="164"/>
                  </a:lnTo>
                  <a:lnTo>
                    <a:pt x="566" y="176"/>
                  </a:lnTo>
                  <a:lnTo>
                    <a:pt x="572" y="176"/>
                  </a:lnTo>
                  <a:lnTo>
                    <a:pt x="572" y="181"/>
                  </a:lnTo>
                  <a:lnTo>
                    <a:pt x="583" y="193"/>
                  </a:lnTo>
                  <a:lnTo>
                    <a:pt x="589" y="193"/>
                  </a:lnTo>
                  <a:lnTo>
                    <a:pt x="600" y="210"/>
                  </a:lnTo>
                  <a:lnTo>
                    <a:pt x="606" y="210"/>
                  </a:lnTo>
                  <a:lnTo>
                    <a:pt x="612" y="215"/>
                  </a:lnTo>
                  <a:lnTo>
                    <a:pt x="612" y="221"/>
                  </a:lnTo>
                  <a:lnTo>
                    <a:pt x="617" y="227"/>
                  </a:lnTo>
                  <a:lnTo>
                    <a:pt x="617" y="232"/>
                  </a:lnTo>
                  <a:lnTo>
                    <a:pt x="623" y="232"/>
                  </a:lnTo>
                  <a:lnTo>
                    <a:pt x="629" y="232"/>
                  </a:lnTo>
                  <a:lnTo>
                    <a:pt x="629" y="238"/>
                  </a:lnTo>
                  <a:lnTo>
                    <a:pt x="634" y="244"/>
                  </a:lnTo>
                  <a:lnTo>
                    <a:pt x="640" y="249"/>
                  </a:lnTo>
                  <a:lnTo>
                    <a:pt x="646" y="261"/>
                  </a:lnTo>
                  <a:lnTo>
                    <a:pt x="651" y="261"/>
                  </a:lnTo>
                  <a:lnTo>
                    <a:pt x="657" y="266"/>
                  </a:lnTo>
                  <a:lnTo>
                    <a:pt x="668" y="272"/>
                  </a:lnTo>
                  <a:lnTo>
                    <a:pt x="668" y="278"/>
                  </a:lnTo>
                  <a:lnTo>
                    <a:pt x="674" y="278"/>
                  </a:lnTo>
                  <a:lnTo>
                    <a:pt x="680" y="278"/>
                  </a:lnTo>
                  <a:lnTo>
                    <a:pt x="685" y="278"/>
                  </a:lnTo>
                  <a:lnTo>
                    <a:pt x="685" y="283"/>
                  </a:lnTo>
                  <a:lnTo>
                    <a:pt x="691" y="283"/>
                  </a:lnTo>
                  <a:lnTo>
                    <a:pt x="697" y="289"/>
                  </a:lnTo>
                  <a:lnTo>
                    <a:pt x="702" y="289"/>
                  </a:lnTo>
                  <a:lnTo>
                    <a:pt x="708" y="289"/>
                  </a:lnTo>
                  <a:lnTo>
                    <a:pt x="714" y="295"/>
                  </a:lnTo>
                  <a:lnTo>
                    <a:pt x="714" y="300"/>
                  </a:lnTo>
                  <a:lnTo>
                    <a:pt x="714" y="306"/>
                  </a:lnTo>
                  <a:lnTo>
                    <a:pt x="719" y="317"/>
                  </a:lnTo>
                  <a:lnTo>
                    <a:pt x="719" y="323"/>
                  </a:lnTo>
                  <a:lnTo>
                    <a:pt x="719" y="329"/>
                  </a:lnTo>
                  <a:lnTo>
                    <a:pt x="725" y="329"/>
                  </a:lnTo>
                  <a:lnTo>
                    <a:pt x="725" y="334"/>
                  </a:lnTo>
                  <a:lnTo>
                    <a:pt x="731" y="340"/>
                  </a:lnTo>
                  <a:lnTo>
                    <a:pt x="736" y="340"/>
                  </a:lnTo>
                  <a:lnTo>
                    <a:pt x="742" y="340"/>
                  </a:lnTo>
                  <a:lnTo>
                    <a:pt x="765" y="329"/>
                  </a:lnTo>
                  <a:lnTo>
                    <a:pt x="771" y="329"/>
                  </a:lnTo>
                  <a:lnTo>
                    <a:pt x="776" y="329"/>
                  </a:lnTo>
                  <a:lnTo>
                    <a:pt x="782" y="329"/>
                  </a:lnTo>
                  <a:lnTo>
                    <a:pt x="782" y="323"/>
                  </a:lnTo>
                  <a:lnTo>
                    <a:pt x="788" y="323"/>
                  </a:lnTo>
                  <a:lnTo>
                    <a:pt x="788" y="317"/>
                  </a:lnTo>
                  <a:lnTo>
                    <a:pt x="799" y="317"/>
                  </a:lnTo>
                  <a:lnTo>
                    <a:pt x="810" y="317"/>
                  </a:lnTo>
                  <a:lnTo>
                    <a:pt x="816" y="323"/>
                  </a:lnTo>
                  <a:lnTo>
                    <a:pt x="822" y="329"/>
                  </a:lnTo>
                  <a:lnTo>
                    <a:pt x="827" y="329"/>
                  </a:lnTo>
                  <a:lnTo>
                    <a:pt x="833" y="334"/>
                  </a:lnTo>
                  <a:lnTo>
                    <a:pt x="839" y="334"/>
                  </a:lnTo>
                  <a:lnTo>
                    <a:pt x="839" y="340"/>
                  </a:lnTo>
                  <a:lnTo>
                    <a:pt x="839" y="346"/>
                  </a:lnTo>
                  <a:lnTo>
                    <a:pt x="844" y="346"/>
                  </a:lnTo>
                  <a:lnTo>
                    <a:pt x="850" y="346"/>
                  </a:lnTo>
                  <a:lnTo>
                    <a:pt x="856" y="351"/>
                  </a:lnTo>
                  <a:lnTo>
                    <a:pt x="856" y="357"/>
                  </a:lnTo>
                  <a:lnTo>
                    <a:pt x="861" y="357"/>
                  </a:lnTo>
                  <a:lnTo>
                    <a:pt x="867" y="357"/>
                  </a:lnTo>
                  <a:lnTo>
                    <a:pt x="867" y="363"/>
                  </a:lnTo>
                  <a:lnTo>
                    <a:pt x="867" y="368"/>
                  </a:lnTo>
                  <a:lnTo>
                    <a:pt x="873" y="374"/>
                  </a:lnTo>
                  <a:lnTo>
                    <a:pt x="878" y="380"/>
                  </a:lnTo>
                  <a:lnTo>
                    <a:pt x="884" y="385"/>
                  </a:lnTo>
                  <a:lnTo>
                    <a:pt x="890" y="385"/>
                  </a:lnTo>
                  <a:lnTo>
                    <a:pt x="895" y="385"/>
                  </a:lnTo>
                  <a:lnTo>
                    <a:pt x="901" y="385"/>
                  </a:lnTo>
                  <a:lnTo>
                    <a:pt x="918" y="391"/>
                  </a:lnTo>
                  <a:lnTo>
                    <a:pt x="924" y="391"/>
                  </a:lnTo>
                  <a:lnTo>
                    <a:pt x="935" y="397"/>
                  </a:lnTo>
                  <a:lnTo>
                    <a:pt x="952" y="397"/>
                  </a:lnTo>
                  <a:lnTo>
                    <a:pt x="958" y="402"/>
                  </a:lnTo>
                  <a:lnTo>
                    <a:pt x="963" y="402"/>
                  </a:lnTo>
                  <a:lnTo>
                    <a:pt x="969" y="408"/>
                  </a:lnTo>
                  <a:lnTo>
                    <a:pt x="975" y="408"/>
                  </a:lnTo>
                  <a:lnTo>
                    <a:pt x="980" y="414"/>
                  </a:lnTo>
                  <a:lnTo>
                    <a:pt x="986" y="419"/>
                  </a:lnTo>
                  <a:lnTo>
                    <a:pt x="992" y="419"/>
                  </a:lnTo>
                  <a:lnTo>
                    <a:pt x="1009" y="431"/>
                  </a:lnTo>
                  <a:lnTo>
                    <a:pt x="1014" y="436"/>
                  </a:lnTo>
                  <a:lnTo>
                    <a:pt x="1020" y="442"/>
                  </a:lnTo>
                  <a:lnTo>
                    <a:pt x="1026" y="442"/>
                  </a:lnTo>
                  <a:lnTo>
                    <a:pt x="1026" y="448"/>
                  </a:lnTo>
                  <a:lnTo>
                    <a:pt x="1031" y="448"/>
                  </a:lnTo>
                  <a:lnTo>
                    <a:pt x="1037" y="453"/>
                  </a:lnTo>
                  <a:lnTo>
                    <a:pt x="1048" y="453"/>
                  </a:lnTo>
                  <a:lnTo>
                    <a:pt x="1054" y="453"/>
                  </a:lnTo>
                  <a:lnTo>
                    <a:pt x="1065" y="459"/>
                  </a:lnTo>
                  <a:lnTo>
                    <a:pt x="1065" y="465"/>
                  </a:lnTo>
                  <a:lnTo>
                    <a:pt x="1071" y="465"/>
                  </a:lnTo>
                  <a:lnTo>
                    <a:pt x="1071" y="470"/>
                  </a:lnTo>
                  <a:lnTo>
                    <a:pt x="1077" y="470"/>
                  </a:lnTo>
                  <a:lnTo>
                    <a:pt x="1077" y="476"/>
                  </a:lnTo>
                  <a:lnTo>
                    <a:pt x="1077" y="482"/>
                  </a:lnTo>
                  <a:lnTo>
                    <a:pt x="1082" y="482"/>
                  </a:lnTo>
                  <a:lnTo>
                    <a:pt x="1094" y="482"/>
                  </a:lnTo>
                  <a:lnTo>
                    <a:pt x="1099" y="487"/>
                  </a:lnTo>
                  <a:lnTo>
                    <a:pt x="1122" y="487"/>
                  </a:lnTo>
                  <a:lnTo>
                    <a:pt x="1122" y="482"/>
                  </a:lnTo>
                  <a:lnTo>
                    <a:pt x="1139" y="482"/>
                  </a:lnTo>
                  <a:lnTo>
                    <a:pt x="1145" y="487"/>
                  </a:lnTo>
                  <a:lnTo>
                    <a:pt x="1150" y="487"/>
                  </a:lnTo>
                  <a:lnTo>
                    <a:pt x="1162" y="482"/>
                  </a:lnTo>
                  <a:lnTo>
                    <a:pt x="1167" y="482"/>
                  </a:lnTo>
                  <a:lnTo>
                    <a:pt x="1179" y="482"/>
                  </a:lnTo>
                  <a:lnTo>
                    <a:pt x="1184" y="476"/>
                  </a:lnTo>
                  <a:lnTo>
                    <a:pt x="1190" y="476"/>
                  </a:lnTo>
                  <a:lnTo>
                    <a:pt x="1196" y="482"/>
                  </a:lnTo>
                  <a:lnTo>
                    <a:pt x="1201" y="482"/>
                  </a:lnTo>
                  <a:lnTo>
                    <a:pt x="1207" y="482"/>
                  </a:lnTo>
                  <a:lnTo>
                    <a:pt x="1207" y="487"/>
                  </a:lnTo>
                  <a:lnTo>
                    <a:pt x="1213" y="487"/>
                  </a:lnTo>
                  <a:lnTo>
                    <a:pt x="1218" y="487"/>
                  </a:lnTo>
                  <a:lnTo>
                    <a:pt x="1224" y="493"/>
                  </a:lnTo>
                  <a:lnTo>
                    <a:pt x="1230" y="493"/>
                  </a:lnTo>
                  <a:lnTo>
                    <a:pt x="1235" y="493"/>
                  </a:lnTo>
                  <a:lnTo>
                    <a:pt x="1235" y="487"/>
                  </a:lnTo>
                  <a:lnTo>
                    <a:pt x="1235" y="493"/>
                  </a:lnTo>
                  <a:lnTo>
                    <a:pt x="1235" y="499"/>
                  </a:lnTo>
                  <a:lnTo>
                    <a:pt x="1235" y="504"/>
                  </a:lnTo>
                  <a:lnTo>
                    <a:pt x="1230" y="510"/>
                  </a:lnTo>
                  <a:lnTo>
                    <a:pt x="1230" y="516"/>
                  </a:lnTo>
                  <a:lnTo>
                    <a:pt x="1224" y="516"/>
                  </a:lnTo>
                  <a:lnTo>
                    <a:pt x="1224" y="521"/>
                  </a:lnTo>
                  <a:lnTo>
                    <a:pt x="1224" y="527"/>
                  </a:lnTo>
                  <a:lnTo>
                    <a:pt x="1218" y="527"/>
                  </a:lnTo>
                  <a:lnTo>
                    <a:pt x="1218" y="533"/>
                  </a:lnTo>
                  <a:lnTo>
                    <a:pt x="1218" y="538"/>
                  </a:lnTo>
                  <a:lnTo>
                    <a:pt x="1213" y="538"/>
                  </a:lnTo>
                  <a:lnTo>
                    <a:pt x="1213" y="544"/>
                  </a:lnTo>
                  <a:lnTo>
                    <a:pt x="1213" y="550"/>
                  </a:lnTo>
                  <a:lnTo>
                    <a:pt x="1207" y="550"/>
                  </a:lnTo>
                  <a:lnTo>
                    <a:pt x="1207" y="555"/>
                  </a:lnTo>
                  <a:lnTo>
                    <a:pt x="1207" y="561"/>
                  </a:lnTo>
                  <a:lnTo>
                    <a:pt x="1207" y="567"/>
                  </a:lnTo>
                  <a:lnTo>
                    <a:pt x="1207" y="572"/>
                  </a:lnTo>
                  <a:lnTo>
                    <a:pt x="1207" y="578"/>
                  </a:lnTo>
                  <a:lnTo>
                    <a:pt x="1207" y="584"/>
                  </a:lnTo>
                  <a:lnTo>
                    <a:pt x="1207" y="589"/>
                  </a:lnTo>
                  <a:lnTo>
                    <a:pt x="1207" y="601"/>
                  </a:lnTo>
                  <a:lnTo>
                    <a:pt x="1201" y="601"/>
                  </a:lnTo>
                  <a:lnTo>
                    <a:pt x="1201" y="606"/>
                  </a:lnTo>
                  <a:lnTo>
                    <a:pt x="1196" y="606"/>
                  </a:lnTo>
                  <a:lnTo>
                    <a:pt x="1190" y="606"/>
                  </a:lnTo>
                  <a:lnTo>
                    <a:pt x="1179" y="606"/>
                  </a:lnTo>
                  <a:lnTo>
                    <a:pt x="1173" y="606"/>
                  </a:lnTo>
                  <a:lnTo>
                    <a:pt x="1167" y="606"/>
                  </a:lnTo>
                  <a:lnTo>
                    <a:pt x="1162" y="606"/>
                  </a:lnTo>
                  <a:lnTo>
                    <a:pt x="1150" y="601"/>
                  </a:lnTo>
                  <a:lnTo>
                    <a:pt x="1145" y="601"/>
                  </a:lnTo>
                  <a:lnTo>
                    <a:pt x="1139" y="601"/>
                  </a:lnTo>
                  <a:lnTo>
                    <a:pt x="1133" y="601"/>
                  </a:lnTo>
                  <a:lnTo>
                    <a:pt x="1122" y="606"/>
                  </a:lnTo>
                  <a:lnTo>
                    <a:pt x="1116" y="606"/>
                  </a:lnTo>
                  <a:lnTo>
                    <a:pt x="1111" y="606"/>
                  </a:lnTo>
                  <a:lnTo>
                    <a:pt x="1105" y="606"/>
                  </a:lnTo>
                  <a:lnTo>
                    <a:pt x="1099" y="606"/>
                  </a:lnTo>
                  <a:lnTo>
                    <a:pt x="1094" y="606"/>
                  </a:lnTo>
                  <a:lnTo>
                    <a:pt x="1082" y="606"/>
                  </a:lnTo>
                  <a:lnTo>
                    <a:pt x="1077" y="601"/>
                  </a:lnTo>
                  <a:lnTo>
                    <a:pt x="1065" y="601"/>
                  </a:lnTo>
                  <a:lnTo>
                    <a:pt x="1065" y="595"/>
                  </a:lnTo>
                  <a:lnTo>
                    <a:pt x="1060" y="595"/>
                  </a:lnTo>
                  <a:lnTo>
                    <a:pt x="1054" y="595"/>
                  </a:lnTo>
                  <a:lnTo>
                    <a:pt x="1043" y="589"/>
                  </a:lnTo>
                  <a:lnTo>
                    <a:pt x="1043" y="584"/>
                  </a:lnTo>
                  <a:lnTo>
                    <a:pt x="1037" y="584"/>
                  </a:lnTo>
                  <a:lnTo>
                    <a:pt x="1031" y="578"/>
                  </a:lnTo>
                  <a:lnTo>
                    <a:pt x="1026" y="578"/>
                  </a:lnTo>
                  <a:lnTo>
                    <a:pt x="1020" y="572"/>
                  </a:lnTo>
                  <a:lnTo>
                    <a:pt x="1014" y="567"/>
                  </a:lnTo>
                  <a:lnTo>
                    <a:pt x="1009" y="567"/>
                  </a:lnTo>
                  <a:lnTo>
                    <a:pt x="1009" y="561"/>
                  </a:lnTo>
                  <a:lnTo>
                    <a:pt x="1003" y="561"/>
                  </a:lnTo>
                  <a:lnTo>
                    <a:pt x="997" y="561"/>
                  </a:lnTo>
                  <a:lnTo>
                    <a:pt x="992" y="561"/>
                  </a:lnTo>
                  <a:lnTo>
                    <a:pt x="986" y="561"/>
                  </a:lnTo>
                  <a:lnTo>
                    <a:pt x="986" y="567"/>
                  </a:lnTo>
                  <a:lnTo>
                    <a:pt x="980" y="567"/>
                  </a:lnTo>
                  <a:lnTo>
                    <a:pt x="980" y="572"/>
                  </a:lnTo>
                  <a:lnTo>
                    <a:pt x="975" y="572"/>
                  </a:lnTo>
                  <a:lnTo>
                    <a:pt x="975" y="578"/>
                  </a:lnTo>
                  <a:lnTo>
                    <a:pt x="969" y="584"/>
                  </a:lnTo>
                  <a:lnTo>
                    <a:pt x="969" y="589"/>
                  </a:lnTo>
                  <a:lnTo>
                    <a:pt x="963" y="589"/>
                  </a:lnTo>
                  <a:lnTo>
                    <a:pt x="963" y="595"/>
                  </a:lnTo>
                  <a:lnTo>
                    <a:pt x="958" y="595"/>
                  </a:lnTo>
                  <a:lnTo>
                    <a:pt x="958" y="601"/>
                  </a:lnTo>
                  <a:lnTo>
                    <a:pt x="952" y="601"/>
                  </a:lnTo>
                  <a:lnTo>
                    <a:pt x="952" y="606"/>
                  </a:lnTo>
                  <a:lnTo>
                    <a:pt x="946" y="606"/>
                  </a:lnTo>
                  <a:lnTo>
                    <a:pt x="946" y="612"/>
                  </a:lnTo>
                  <a:lnTo>
                    <a:pt x="941" y="612"/>
                  </a:lnTo>
                  <a:lnTo>
                    <a:pt x="935" y="612"/>
                  </a:lnTo>
                  <a:lnTo>
                    <a:pt x="935" y="618"/>
                  </a:lnTo>
                  <a:lnTo>
                    <a:pt x="935" y="623"/>
                  </a:lnTo>
                  <a:lnTo>
                    <a:pt x="929" y="623"/>
                  </a:lnTo>
                  <a:lnTo>
                    <a:pt x="929" y="629"/>
                  </a:lnTo>
                  <a:lnTo>
                    <a:pt x="935" y="640"/>
                  </a:lnTo>
                  <a:lnTo>
                    <a:pt x="941" y="640"/>
                  </a:lnTo>
                  <a:lnTo>
                    <a:pt x="941" y="652"/>
                  </a:lnTo>
                  <a:lnTo>
                    <a:pt x="941" y="657"/>
                  </a:lnTo>
                  <a:lnTo>
                    <a:pt x="946" y="663"/>
                  </a:lnTo>
                  <a:lnTo>
                    <a:pt x="952" y="663"/>
                  </a:lnTo>
                  <a:lnTo>
                    <a:pt x="958" y="663"/>
                  </a:lnTo>
                  <a:lnTo>
                    <a:pt x="963" y="663"/>
                  </a:lnTo>
                  <a:lnTo>
                    <a:pt x="963" y="669"/>
                  </a:lnTo>
                  <a:lnTo>
                    <a:pt x="969" y="669"/>
                  </a:lnTo>
                  <a:lnTo>
                    <a:pt x="969" y="674"/>
                  </a:lnTo>
                  <a:lnTo>
                    <a:pt x="969" y="680"/>
                  </a:lnTo>
                  <a:lnTo>
                    <a:pt x="969" y="686"/>
                  </a:lnTo>
                  <a:lnTo>
                    <a:pt x="975" y="691"/>
                  </a:lnTo>
                  <a:lnTo>
                    <a:pt x="980" y="691"/>
                  </a:lnTo>
                  <a:lnTo>
                    <a:pt x="986" y="691"/>
                  </a:lnTo>
                  <a:lnTo>
                    <a:pt x="997" y="691"/>
                  </a:lnTo>
                  <a:lnTo>
                    <a:pt x="1003" y="691"/>
                  </a:lnTo>
                  <a:lnTo>
                    <a:pt x="1009" y="691"/>
                  </a:lnTo>
                  <a:lnTo>
                    <a:pt x="1009" y="697"/>
                  </a:lnTo>
                  <a:lnTo>
                    <a:pt x="1009" y="703"/>
                  </a:lnTo>
                  <a:lnTo>
                    <a:pt x="1009" y="708"/>
                  </a:lnTo>
                  <a:lnTo>
                    <a:pt x="1009" y="714"/>
                  </a:lnTo>
                  <a:lnTo>
                    <a:pt x="1003" y="720"/>
                  </a:lnTo>
                  <a:lnTo>
                    <a:pt x="1003" y="725"/>
                  </a:lnTo>
                  <a:lnTo>
                    <a:pt x="997" y="725"/>
                  </a:lnTo>
                  <a:lnTo>
                    <a:pt x="997" y="731"/>
                  </a:lnTo>
                  <a:lnTo>
                    <a:pt x="997" y="725"/>
                  </a:lnTo>
                  <a:lnTo>
                    <a:pt x="992" y="720"/>
                  </a:lnTo>
                  <a:lnTo>
                    <a:pt x="986" y="714"/>
                  </a:lnTo>
                  <a:lnTo>
                    <a:pt x="980" y="714"/>
                  </a:lnTo>
                  <a:lnTo>
                    <a:pt x="980" y="708"/>
                  </a:lnTo>
                  <a:lnTo>
                    <a:pt x="975" y="708"/>
                  </a:lnTo>
                  <a:lnTo>
                    <a:pt x="969" y="708"/>
                  </a:lnTo>
                  <a:lnTo>
                    <a:pt x="963" y="708"/>
                  </a:lnTo>
                  <a:lnTo>
                    <a:pt x="958" y="708"/>
                  </a:lnTo>
                  <a:lnTo>
                    <a:pt x="952" y="714"/>
                  </a:lnTo>
                  <a:lnTo>
                    <a:pt x="946" y="714"/>
                  </a:lnTo>
                  <a:lnTo>
                    <a:pt x="946" y="720"/>
                  </a:lnTo>
                  <a:lnTo>
                    <a:pt x="941" y="720"/>
                  </a:lnTo>
                  <a:lnTo>
                    <a:pt x="941" y="731"/>
                  </a:lnTo>
                  <a:lnTo>
                    <a:pt x="941" y="737"/>
                  </a:lnTo>
                  <a:lnTo>
                    <a:pt x="941" y="742"/>
                  </a:lnTo>
                  <a:lnTo>
                    <a:pt x="935" y="748"/>
                  </a:lnTo>
                  <a:lnTo>
                    <a:pt x="929" y="748"/>
                  </a:lnTo>
                  <a:lnTo>
                    <a:pt x="924" y="754"/>
                  </a:lnTo>
                  <a:lnTo>
                    <a:pt x="912" y="754"/>
                  </a:lnTo>
                  <a:lnTo>
                    <a:pt x="907" y="754"/>
                  </a:lnTo>
                  <a:lnTo>
                    <a:pt x="901" y="748"/>
                  </a:lnTo>
                  <a:lnTo>
                    <a:pt x="895" y="748"/>
                  </a:lnTo>
                  <a:lnTo>
                    <a:pt x="890" y="748"/>
                  </a:lnTo>
                  <a:lnTo>
                    <a:pt x="884" y="742"/>
                  </a:lnTo>
                  <a:lnTo>
                    <a:pt x="884" y="737"/>
                  </a:lnTo>
                  <a:lnTo>
                    <a:pt x="878" y="737"/>
                  </a:lnTo>
                  <a:lnTo>
                    <a:pt x="873" y="731"/>
                  </a:lnTo>
                  <a:lnTo>
                    <a:pt x="873" y="725"/>
                  </a:lnTo>
                  <a:lnTo>
                    <a:pt x="867" y="725"/>
                  </a:lnTo>
                  <a:lnTo>
                    <a:pt x="861" y="725"/>
                  </a:lnTo>
                  <a:lnTo>
                    <a:pt x="856" y="731"/>
                  </a:lnTo>
                  <a:lnTo>
                    <a:pt x="850" y="731"/>
                  </a:lnTo>
                  <a:lnTo>
                    <a:pt x="850" y="737"/>
                  </a:lnTo>
                  <a:lnTo>
                    <a:pt x="844" y="737"/>
                  </a:lnTo>
                  <a:lnTo>
                    <a:pt x="839" y="737"/>
                  </a:lnTo>
                  <a:lnTo>
                    <a:pt x="833" y="731"/>
                  </a:lnTo>
                  <a:lnTo>
                    <a:pt x="827" y="731"/>
                  </a:lnTo>
                  <a:lnTo>
                    <a:pt x="822" y="731"/>
                  </a:lnTo>
                  <a:lnTo>
                    <a:pt x="816" y="731"/>
                  </a:lnTo>
                  <a:lnTo>
                    <a:pt x="805" y="731"/>
                  </a:lnTo>
                  <a:lnTo>
                    <a:pt x="799" y="731"/>
                  </a:lnTo>
                  <a:lnTo>
                    <a:pt x="799" y="725"/>
                  </a:lnTo>
                  <a:lnTo>
                    <a:pt x="793" y="720"/>
                  </a:lnTo>
                  <a:lnTo>
                    <a:pt x="788" y="714"/>
                  </a:lnTo>
                  <a:lnTo>
                    <a:pt x="782" y="714"/>
                  </a:lnTo>
                  <a:lnTo>
                    <a:pt x="776" y="708"/>
                  </a:lnTo>
                  <a:lnTo>
                    <a:pt x="771" y="708"/>
                  </a:lnTo>
                  <a:lnTo>
                    <a:pt x="765" y="708"/>
                  </a:lnTo>
                  <a:lnTo>
                    <a:pt x="759" y="714"/>
                  </a:lnTo>
                  <a:lnTo>
                    <a:pt x="759" y="720"/>
                  </a:lnTo>
                  <a:lnTo>
                    <a:pt x="753" y="720"/>
                  </a:lnTo>
                  <a:lnTo>
                    <a:pt x="748" y="720"/>
                  </a:lnTo>
                  <a:lnTo>
                    <a:pt x="742" y="720"/>
                  </a:lnTo>
                  <a:lnTo>
                    <a:pt x="736" y="720"/>
                  </a:lnTo>
                  <a:lnTo>
                    <a:pt x="731" y="720"/>
                  </a:lnTo>
                  <a:lnTo>
                    <a:pt x="725" y="720"/>
                  </a:lnTo>
                  <a:lnTo>
                    <a:pt x="719" y="720"/>
                  </a:lnTo>
                  <a:lnTo>
                    <a:pt x="719" y="725"/>
                  </a:lnTo>
                  <a:lnTo>
                    <a:pt x="714" y="725"/>
                  </a:lnTo>
                  <a:lnTo>
                    <a:pt x="702" y="731"/>
                  </a:lnTo>
                  <a:lnTo>
                    <a:pt x="702" y="725"/>
                  </a:lnTo>
                  <a:lnTo>
                    <a:pt x="697" y="725"/>
                  </a:lnTo>
                  <a:lnTo>
                    <a:pt x="691" y="725"/>
                  </a:lnTo>
                  <a:lnTo>
                    <a:pt x="685" y="725"/>
                  </a:lnTo>
                  <a:lnTo>
                    <a:pt x="685" y="720"/>
                  </a:lnTo>
                  <a:lnTo>
                    <a:pt x="680" y="725"/>
                  </a:lnTo>
                  <a:lnTo>
                    <a:pt x="674" y="725"/>
                  </a:lnTo>
                  <a:lnTo>
                    <a:pt x="663" y="725"/>
                  </a:lnTo>
                  <a:lnTo>
                    <a:pt x="657" y="725"/>
                  </a:lnTo>
                  <a:lnTo>
                    <a:pt x="651" y="725"/>
                  </a:lnTo>
                  <a:lnTo>
                    <a:pt x="646" y="720"/>
                  </a:lnTo>
                  <a:lnTo>
                    <a:pt x="640" y="720"/>
                  </a:lnTo>
                  <a:lnTo>
                    <a:pt x="634" y="714"/>
                  </a:lnTo>
                  <a:lnTo>
                    <a:pt x="629" y="708"/>
                  </a:lnTo>
                  <a:lnTo>
                    <a:pt x="629" y="703"/>
                  </a:lnTo>
                  <a:lnTo>
                    <a:pt x="623" y="691"/>
                  </a:lnTo>
                  <a:lnTo>
                    <a:pt x="629" y="691"/>
                  </a:lnTo>
                  <a:lnTo>
                    <a:pt x="623" y="680"/>
                  </a:lnTo>
                  <a:lnTo>
                    <a:pt x="617" y="674"/>
                  </a:lnTo>
                  <a:lnTo>
                    <a:pt x="617" y="669"/>
                  </a:lnTo>
                  <a:lnTo>
                    <a:pt x="617" y="663"/>
                  </a:lnTo>
                  <a:lnTo>
                    <a:pt x="612" y="663"/>
                  </a:lnTo>
                  <a:lnTo>
                    <a:pt x="606" y="657"/>
                  </a:lnTo>
                  <a:lnTo>
                    <a:pt x="600" y="652"/>
                  </a:lnTo>
                  <a:lnTo>
                    <a:pt x="595" y="646"/>
                  </a:lnTo>
                  <a:lnTo>
                    <a:pt x="595" y="640"/>
                  </a:lnTo>
                  <a:lnTo>
                    <a:pt x="589" y="640"/>
                  </a:lnTo>
                  <a:lnTo>
                    <a:pt x="589" y="635"/>
                  </a:lnTo>
                  <a:lnTo>
                    <a:pt x="583" y="635"/>
                  </a:lnTo>
                  <a:lnTo>
                    <a:pt x="578" y="629"/>
                  </a:lnTo>
                  <a:lnTo>
                    <a:pt x="578" y="623"/>
                  </a:lnTo>
                  <a:lnTo>
                    <a:pt x="572" y="618"/>
                  </a:lnTo>
                  <a:lnTo>
                    <a:pt x="566" y="612"/>
                  </a:lnTo>
                  <a:lnTo>
                    <a:pt x="566" y="606"/>
                  </a:lnTo>
                  <a:lnTo>
                    <a:pt x="561" y="601"/>
                  </a:lnTo>
                  <a:lnTo>
                    <a:pt x="561" y="595"/>
                  </a:lnTo>
                  <a:lnTo>
                    <a:pt x="555" y="595"/>
                  </a:lnTo>
                  <a:lnTo>
                    <a:pt x="555" y="589"/>
                  </a:lnTo>
                  <a:lnTo>
                    <a:pt x="549" y="584"/>
                  </a:lnTo>
                  <a:lnTo>
                    <a:pt x="549" y="578"/>
                  </a:lnTo>
                  <a:lnTo>
                    <a:pt x="544" y="567"/>
                  </a:lnTo>
                  <a:lnTo>
                    <a:pt x="544" y="561"/>
                  </a:lnTo>
                  <a:lnTo>
                    <a:pt x="538" y="555"/>
                  </a:lnTo>
                  <a:lnTo>
                    <a:pt x="532" y="550"/>
                  </a:lnTo>
                  <a:lnTo>
                    <a:pt x="532" y="544"/>
                  </a:lnTo>
                  <a:lnTo>
                    <a:pt x="527" y="538"/>
                  </a:lnTo>
                  <a:lnTo>
                    <a:pt x="521" y="533"/>
                  </a:lnTo>
                  <a:lnTo>
                    <a:pt x="521" y="527"/>
                  </a:lnTo>
                  <a:lnTo>
                    <a:pt x="515" y="527"/>
                  </a:lnTo>
                  <a:lnTo>
                    <a:pt x="515" y="521"/>
                  </a:lnTo>
                  <a:lnTo>
                    <a:pt x="515" y="516"/>
                  </a:lnTo>
                  <a:lnTo>
                    <a:pt x="515" y="510"/>
                  </a:lnTo>
                  <a:lnTo>
                    <a:pt x="510" y="510"/>
                  </a:lnTo>
                  <a:lnTo>
                    <a:pt x="510" y="504"/>
                  </a:lnTo>
                  <a:lnTo>
                    <a:pt x="504" y="499"/>
                  </a:lnTo>
                  <a:lnTo>
                    <a:pt x="504" y="493"/>
                  </a:lnTo>
                  <a:lnTo>
                    <a:pt x="504" y="487"/>
                  </a:lnTo>
                  <a:lnTo>
                    <a:pt x="504" y="482"/>
                  </a:lnTo>
                  <a:lnTo>
                    <a:pt x="504" y="476"/>
                  </a:lnTo>
                  <a:lnTo>
                    <a:pt x="504" y="470"/>
                  </a:lnTo>
                  <a:lnTo>
                    <a:pt x="504" y="465"/>
                  </a:lnTo>
                  <a:lnTo>
                    <a:pt x="504" y="459"/>
                  </a:lnTo>
                  <a:lnTo>
                    <a:pt x="510" y="459"/>
                  </a:lnTo>
                  <a:lnTo>
                    <a:pt x="515" y="459"/>
                  </a:lnTo>
                  <a:lnTo>
                    <a:pt x="515" y="453"/>
                  </a:lnTo>
                  <a:lnTo>
                    <a:pt x="515" y="448"/>
                  </a:lnTo>
                  <a:lnTo>
                    <a:pt x="521" y="442"/>
                  </a:lnTo>
                  <a:lnTo>
                    <a:pt x="521" y="436"/>
                  </a:lnTo>
                  <a:lnTo>
                    <a:pt x="527" y="431"/>
                  </a:lnTo>
                  <a:lnTo>
                    <a:pt x="532" y="425"/>
                  </a:lnTo>
                  <a:lnTo>
                    <a:pt x="538" y="419"/>
                  </a:lnTo>
                  <a:lnTo>
                    <a:pt x="544" y="414"/>
                  </a:lnTo>
                  <a:lnTo>
                    <a:pt x="555" y="408"/>
                  </a:lnTo>
                  <a:lnTo>
                    <a:pt x="561" y="402"/>
                  </a:lnTo>
                  <a:lnTo>
                    <a:pt x="566" y="402"/>
                  </a:lnTo>
                  <a:lnTo>
                    <a:pt x="566" y="397"/>
                  </a:lnTo>
                  <a:lnTo>
                    <a:pt x="566" y="391"/>
                  </a:lnTo>
                  <a:lnTo>
                    <a:pt x="561" y="385"/>
                  </a:lnTo>
                  <a:lnTo>
                    <a:pt x="555" y="380"/>
                  </a:lnTo>
                  <a:lnTo>
                    <a:pt x="549" y="385"/>
                  </a:lnTo>
                  <a:lnTo>
                    <a:pt x="544" y="385"/>
                  </a:lnTo>
                  <a:lnTo>
                    <a:pt x="538" y="385"/>
                  </a:lnTo>
                  <a:lnTo>
                    <a:pt x="538" y="391"/>
                  </a:lnTo>
                  <a:lnTo>
                    <a:pt x="532" y="391"/>
                  </a:lnTo>
                  <a:lnTo>
                    <a:pt x="532" y="397"/>
                  </a:lnTo>
                  <a:lnTo>
                    <a:pt x="527" y="397"/>
                  </a:lnTo>
                  <a:lnTo>
                    <a:pt x="521" y="402"/>
                  </a:lnTo>
                  <a:lnTo>
                    <a:pt x="515" y="408"/>
                  </a:lnTo>
                  <a:lnTo>
                    <a:pt x="515" y="414"/>
                  </a:lnTo>
                  <a:lnTo>
                    <a:pt x="510" y="414"/>
                  </a:lnTo>
                  <a:lnTo>
                    <a:pt x="504" y="414"/>
                  </a:lnTo>
                  <a:lnTo>
                    <a:pt x="498" y="408"/>
                  </a:lnTo>
                  <a:lnTo>
                    <a:pt x="493" y="408"/>
                  </a:lnTo>
                  <a:lnTo>
                    <a:pt x="493" y="402"/>
                  </a:lnTo>
                  <a:lnTo>
                    <a:pt x="487" y="402"/>
                  </a:lnTo>
                  <a:lnTo>
                    <a:pt x="481" y="402"/>
                  </a:lnTo>
                  <a:lnTo>
                    <a:pt x="476" y="397"/>
                  </a:lnTo>
                  <a:lnTo>
                    <a:pt x="476" y="391"/>
                  </a:lnTo>
                  <a:lnTo>
                    <a:pt x="464" y="385"/>
                  </a:lnTo>
                  <a:lnTo>
                    <a:pt x="464" y="380"/>
                  </a:lnTo>
                  <a:lnTo>
                    <a:pt x="459" y="380"/>
                  </a:lnTo>
                  <a:lnTo>
                    <a:pt x="459" y="374"/>
                  </a:lnTo>
                  <a:lnTo>
                    <a:pt x="453" y="374"/>
                  </a:lnTo>
                  <a:lnTo>
                    <a:pt x="447" y="374"/>
                  </a:lnTo>
                  <a:lnTo>
                    <a:pt x="447" y="368"/>
                  </a:lnTo>
                  <a:lnTo>
                    <a:pt x="442" y="363"/>
                  </a:lnTo>
                  <a:lnTo>
                    <a:pt x="436" y="357"/>
                  </a:lnTo>
                  <a:lnTo>
                    <a:pt x="442" y="351"/>
                  </a:lnTo>
                  <a:lnTo>
                    <a:pt x="436" y="351"/>
                  </a:lnTo>
                  <a:lnTo>
                    <a:pt x="436" y="346"/>
                  </a:lnTo>
                  <a:lnTo>
                    <a:pt x="436" y="340"/>
                  </a:lnTo>
                  <a:lnTo>
                    <a:pt x="436" y="334"/>
                  </a:lnTo>
                  <a:lnTo>
                    <a:pt x="430" y="334"/>
                  </a:lnTo>
                  <a:lnTo>
                    <a:pt x="419" y="329"/>
                  </a:lnTo>
                  <a:lnTo>
                    <a:pt x="419" y="323"/>
                  </a:lnTo>
                  <a:lnTo>
                    <a:pt x="413" y="317"/>
                  </a:lnTo>
                  <a:lnTo>
                    <a:pt x="408" y="317"/>
                  </a:lnTo>
                  <a:lnTo>
                    <a:pt x="402" y="317"/>
                  </a:lnTo>
                  <a:lnTo>
                    <a:pt x="396" y="317"/>
                  </a:lnTo>
                  <a:lnTo>
                    <a:pt x="391" y="317"/>
                  </a:lnTo>
                  <a:lnTo>
                    <a:pt x="391" y="323"/>
                  </a:lnTo>
                  <a:lnTo>
                    <a:pt x="385" y="323"/>
                  </a:lnTo>
                  <a:lnTo>
                    <a:pt x="379" y="323"/>
                  </a:lnTo>
                  <a:lnTo>
                    <a:pt x="379" y="329"/>
                  </a:lnTo>
                  <a:lnTo>
                    <a:pt x="374" y="329"/>
                  </a:lnTo>
                  <a:lnTo>
                    <a:pt x="374" y="334"/>
                  </a:lnTo>
                  <a:lnTo>
                    <a:pt x="368" y="334"/>
                  </a:lnTo>
                  <a:lnTo>
                    <a:pt x="362" y="340"/>
                  </a:lnTo>
                  <a:lnTo>
                    <a:pt x="362" y="346"/>
                  </a:lnTo>
                  <a:lnTo>
                    <a:pt x="357" y="346"/>
                  </a:lnTo>
                  <a:lnTo>
                    <a:pt x="357" y="351"/>
                  </a:lnTo>
                  <a:lnTo>
                    <a:pt x="357" y="357"/>
                  </a:lnTo>
                  <a:lnTo>
                    <a:pt x="357" y="363"/>
                  </a:lnTo>
                  <a:lnTo>
                    <a:pt x="357" y="368"/>
                  </a:lnTo>
                  <a:lnTo>
                    <a:pt x="351" y="374"/>
                  </a:lnTo>
                  <a:lnTo>
                    <a:pt x="351" y="380"/>
                  </a:lnTo>
                  <a:lnTo>
                    <a:pt x="345" y="385"/>
                  </a:lnTo>
                  <a:lnTo>
                    <a:pt x="340" y="385"/>
                  </a:lnTo>
                  <a:lnTo>
                    <a:pt x="340" y="391"/>
                  </a:lnTo>
                  <a:lnTo>
                    <a:pt x="334" y="391"/>
                  </a:lnTo>
                  <a:lnTo>
                    <a:pt x="334" y="397"/>
                  </a:lnTo>
                  <a:lnTo>
                    <a:pt x="328" y="397"/>
                  </a:lnTo>
                  <a:lnTo>
                    <a:pt x="323" y="397"/>
                  </a:lnTo>
                  <a:lnTo>
                    <a:pt x="323" y="402"/>
                  </a:lnTo>
                  <a:lnTo>
                    <a:pt x="317" y="402"/>
                  </a:lnTo>
                  <a:lnTo>
                    <a:pt x="306" y="408"/>
                  </a:lnTo>
                  <a:lnTo>
                    <a:pt x="294" y="414"/>
                  </a:lnTo>
                  <a:lnTo>
                    <a:pt x="283" y="414"/>
                  </a:lnTo>
                  <a:lnTo>
                    <a:pt x="277" y="419"/>
                  </a:lnTo>
                  <a:lnTo>
                    <a:pt x="266" y="419"/>
                  </a:lnTo>
                  <a:lnTo>
                    <a:pt x="266" y="425"/>
                  </a:lnTo>
                  <a:lnTo>
                    <a:pt x="255" y="425"/>
                  </a:lnTo>
                  <a:lnTo>
                    <a:pt x="249" y="431"/>
                  </a:lnTo>
                  <a:lnTo>
                    <a:pt x="243" y="431"/>
                  </a:lnTo>
                  <a:lnTo>
                    <a:pt x="238" y="431"/>
                  </a:lnTo>
                  <a:lnTo>
                    <a:pt x="238" y="436"/>
                  </a:lnTo>
                  <a:lnTo>
                    <a:pt x="238" y="442"/>
                  </a:lnTo>
                  <a:lnTo>
                    <a:pt x="232" y="442"/>
                  </a:lnTo>
                  <a:lnTo>
                    <a:pt x="226" y="442"/>
                  </a:lnTo>
                  <a:lnTo>
                    <a:pt x="221" y="448"/>
                  </a:lnTo>
                  <a:lnTo>
                    <a:pt x="215" y="448"/>
                  </a:lnTo>
                  <a:lnTo>
                    <a:pt x="209" y="448"/>
                  </a:lnTo>
                  <a:lnTo>
                    <a:pt x="204" y="448"/>
                  </a:lnTo>
                  <a:lnTo>
                    <a:pt x="198" y="453"/>
                  </a:lnTo>
                  <a:lnTo>
                    <a:pt x="192" y="459"/>
                  </a:lnTo>
                  <a:lnTo>
                    <a:pt x="187" y="459"/>
                  </a:lnTo>
                  <a:lnTo>
                    <a:pt x="181" y="459"/>
                  </a:lnTo>
                  <a:lnTo>
                    <a:pt x="175" y="459"/>
                  </a:lnTo>
                  <a:lnTo>
                    <a:pt x="170" y="459"/>
                  </a:lnTo>
                  <a:lnTo>
                    <a:pt x="164" y="459"/>
                  </a:lnTo>
                  <a:lnTo>
                    <a:pt x="158" y="459"/>
                  </a:lnTo>
                  <a:lnTo>
                    <a:pt x="153" y="459"/>
                  </a:lnTo>
                  <a:lnTo>
                    <a:pt x="147" y="459"/>
                  </a:lnTo>
                  <a:lnTo>
                    <a:pt x="141" y="459"/>
                  </a:lnTo>
                  <a:lnTo>
                    <a:pt x="136" y="459"/>
                  </a:lnTo>
                  <a:lnTo>
                    <a:pt x="130" y="459"/>
                  </a:lnTo>
                  <a:lnTo>
                    <a:pt x="124" y="465"/>
                  </a:lnTo>
                  <a:lnTo>
                    <a:pt x="124" y="470"/>
                  </a:lnTo>
                  <a:lnTo>
                    <a:pt x="119" y="470"/>
                  </a:lnTo>
                  <a:lnTo>
                    <a:pt x="113" y="470"/>
                  </a:lnTo>
                  <a:lnTo>
                    <a:pt x="107" y="476"/>
                  </a:lnTo>
                  <a:lnTo>
                    <a:pt x="107" y="482"/>
                  </a:lnTo>
                  <a:lnTo>
                    <a:pt x="102" y="482"/>
                  </a:lnTo>
                  <a:lnTo>
                    <a:pt x="96" y="482"/>
                  </a:lnTo>
                  <a:lnTo>
                    <a:pt x="96" y="487"/>
                  </a:lnTo>
                  <a:lnTo>
                    <a:pt x="90" y="493"/>
                  </a:lnTo>
                  <a:lnTo>
                    <a:pt x="85" y="493"/>
                  </a:lnTo>
                  <a:lnTo>
                    <a:pt x="85" y="499"/>
                  </a:lnTo>
                  <a:lnTo>
                    <a:pt x="73" y="504"/>
                  </a:lnTo>
                  <a:lnTo>
                    <a:pt x="68" y="510"/>
                  </a:lnTo>
                  <a:lnTo>
                    <a:pt x="68" y="516"/>
                  </a:lnTo>
                  <a:lnTo>
                    <a:pt x="62" y="516"/>
                  </a:lnTo>
                  <a:lnTo>
                    <a:pt x="56" y="516"/>
                  </a:lnTo>
                  <a:lnTo>
                    <a:pt x="56" y="521"/>
                  </a:lnTo>
                  <a:lnTo>
                    <a:pt x="51" y="527"/>
                  </a:lnTo>
                  <a:lnTo>
                    <a:pt x="45" y="521"/>
                  </a:lnTo>
                  <a:lnTo>
                    <a:pt x="39" y="521"/>
                  </a:lnTo>
                  <a:lnTo>
                    <a:pt x="28" y="516"/>
                  </a:lnTo>
                  <a:lnTo>
                    <a:pt x="22" y="521"/>
                  </a:lnTo>
                  <a:lnTo>
                    <a:pt x="17" y="521"/>
                  </a:lnTo>
                  <a:lnTo>
                    <a:pt x="17" y="527"/>
                  </a:lnTo>
                  <a:lnTo>
                    <a:pt x="11" y="533"/>
                  </a:lnTo>
                  <a:lnTo>
                    <a:pt x="11" y="538"/>
                  </a:lnTo>
                  <a:lnTo>
                    <a:pt x="5" y="5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3" name="Freeform 12"/>
            <p:cNvSpPr>
              <a:spLocks/>
            </p:cNvSpPr>
            <p:nvPr/>
          </p:nvSpPr>
          <p:spPr bwMode="gray">
            <a:xfrm>
              <a:off x="635648" y="1861777"/>
              <a:ext cx="1916709" cy="1490960"/>
            </a:xfrm>
            <a:custGeom>
              <a:avLst/>
              <a:gdLst>
                <a:gd name="T0" fmla="*/ 2147483647 w 1366"/>
                <a:gd name="T1" fmla="*/ 2147483647 h 1117"/>
                <a:gd name="T2" fmla="*/ 2147483647 w 1366"/>
                <a:gd name="T3" fmla="*/ 2147483647 h 1117"/>
                <a:gd name="T4" fmla="*/ 2147483647 w 1366"/>
                <a:gd name="T5" fmla="*/ 2147483647 h 1117"/>
                <a:gd name="T6" fmla="*/ 2147483647 w 1366"/>
                <a:gd name="T7" fmla="*/ 2147483647 h 1117"/>
                <a:gd name="T8" fmla="*/ 2147483647 w 1366"/>
                <a:gd name="T9" fmla="*/ 2147483647 h 1117"/>
                <a:gd name="T10" fmla="*/ 2147483647 w 1366"/>
                <a:gd name="T11" fmla="*/ 2147483647 h 1117"/>
                <a:gd name="T12" fmla="*/ 2147483647 w 1366"/>
                <a:gd name="T13" fmla="*/ 2147483647 h 1117"/>
                <a:gd name="T14" fmla="*/ 2147483647 w 1366"/>
                <a:gd name="T15" fmla="*/ 2147483647 h 1117"/>
                <a:gd name="T16" fmla="*/ 2147483647 w 1366"/>
                <a:gd name="T17" fmla="*/ 2147483647 h 1117"/>
                <a:gd name="T18" fmla="*/ 2147483647 w 1366"/>
                <a:gd name="T19" fmla="*/ 2147483647 h 1117"/>
                <a:gd name="T20" fmla="*/ 2147483647 w 1366"/>
                <a:gd name="T21" fmla="*/ 2147483647 h 1117"/>
                <a:gd name="T22" fmla="*/ 2147483647 w 1366"/>
                <a:gd name="T23" fmla="*/ 2147483647 h 1117"/>
                <a:gd name="T24" fmla="*/ 2147483647 w 1366"/>
                <a:gd name="T25" fmla="*/ 2147483647 h 1117"/>
                <a:gd name="T26" fmla="*/ 2147483647 w 1366"/>
                <a:gd name="T27" fmla="*/ 2147483647 h 1117"/>
                <a:gd name="T28" fmla="*/ 2147483647 w 1366"/>
                <a:gd name="T29" fmla="*/ 2147483647 h 1117"/>
                <a:gd name="T30" fmla="*/ 2147483647 w 1366"/>
                <a:gd name="T31" fmla="*/ 2147483647 h 1117"/>
                <a:gd name="T32" fmla="*/ 2147483647 w 1366"/>
                <a:gd name="T33" fmla="*/ 2147483647 h 1117"/>
                <a:gd name="T34" fmla="*/ 2147483647 w 1366"/>
                <a:gd name="T35" fmla="*/ 2147483647 h 1117"/>
                <a:gd name="T36" fmla="*/ 2147483647 w 1366"/>
                <a:gd name="T37" fmla="*/ 2147483647 h 1117"/>
                <a:gd name="T38" fmla="*/ 2147483647 w 1366"/>
                <a:gd name="T39" fmla="*/ 2147483647 h 1117"/>
                <a:gd name="T40" fmla="*/ 2147483647 w 1366"/>
                <a:gd name="T41" fmla="*/ 2147483647 h 1117"/>
                <a:gd name="T42" fmla="*/ 2147483647 w 1366"/>
                <a:gd name="T43" fmla="*/ 0 h 1117"/>
                <a:gd name="T44" fmla="*/ 2147483647 w 1366"/>
                <a:gd name="T45" fmla="*/ 2147483647 h 1117"/>
                <a:gd name="T46" fmla="*/ 2147483647 w 1366"/>
                <a:gd name="T47" fmla="*/ 2147483647 h 1117"/>
                <a:gd name="T48" fmla="*/ 2147483647 w 1366"/>
                <a:gd name="T49" fmla="*/ 2147483647 h 1117"/>
                <a:gd name="T50" fmla="*/ 2147483647 w 1366"/>
                <a:gd name="T51" fmla="*/ 2147483647 h 1117"/>
                <a:gd name="T52" fmla="*/ 2147483647 w 1366"/>
                <a:gd name="T53" fmla="*/ 2147483647 h 1117"/>
                <a:gd name="T54" fmla="*/ 2147483647 w 1366"/>
                <a:gd name="T55" fmla="*/ 2147483647 h 1117"/>
                <a:gd name="T56" fmla="*/ 2147483647 w 1366"/>
                <a:gd name="T57" fmla="*/ 2147483647 h 1117"/>
                <a:gd name="T58" fmla="*/ 2147483647 w 1366"/>
                <a:gd name="T59" fmla="*/ 2147483647 h 1117"/>
                <a:gd name="T60" fmla="*/ 2147483647 w 1366"/>
                <a:gd name="T61" fmla="*/ 2147483647 h 1117"/>
                <a:gd name="T62" fmla="*/ 2147483647 w 1366"/>
                <a:gd name="T63" fmla="*/ 2147483647 h 1117"/>
                <a:gd name="T64" fmla="*/ 2147483647 w 1366"/>
                <a:gd name="T65" fmla="*/ 2147483647 h 1117"/>
                <a:gd name="T66" fmla="*/ 2147483647 w 1366"/>
                <a:gd name="T67" fmla="*/ 2147483647 h 1117"/>
                <a:gd name="T68" fmla="*/ 2147483647 w 1366"/>
                <a:gd name="T69" fmla="*/ 2147483647 h 1117"/>
                <a:gd name="T70" fmla="*/ 2147483647 w 1366"/>
                <a:gd name="T71" fmla="*/ 2147483647 h 1117"/>
                <a:gd name="T72" fmla="*/ 2147483647 w 1366"/>
                <a:gd name="T73" fmla="*/ 2147483647 h 1117"/>
                <a:gd name="T74" fmla="*/ 2147483647 w 1366"/>
                <a:gd name="T75" fmla="*/ 2147483647 h 1117"/>
                <a:gd name="T76" fmla="*/ 2147483647 w 1366"/>
                <a:gd name="T77" fmla="*/ 2147483647 h 1117"/>
                <a:gd name="T78" fmla="*/ 2147483647 w 1366"/>
                <a:gd name="T79" fmla="*/ 2147483647 h 1117"/>
                <a:gd name="T80" fmla="*/ 2147483647 w 1366"/>
                <a:gd name="T81" fmla="*/ 2147483647 h 1117"/>
                <a:gd name="T82" fmla="*/ 2147483647 w 1366"/>
                <a:gd name="T83" fmla="*/ 2147483647 h 1117"/>
                <a:gd name="T84" fmla="*/ 2147483647 w 1366"/>
                <a:gd name="T85" fmla="*/ 2147483647 h 1117"/>
                <a:gd name="T86" fmla="*/ 2147483647 w 1366"/>
                <a:gd name="T87" fmla="*/ 2147483647 h 1117"/>
                <a:gd name="T88" fmla="*/ 2147483647 w 1366"/>
                <a:gd name="T89" fmla="*/ 2147483647 h 1117"/>
                <a:gd name="T90" fmla="*/ 2147483647 w 1366"/>
                <a:gd name="T91" fmla="*/ 2147483647 h 1117"/>
                <a:gd name="T92" fmla="*/ 2147483647 w 1366"/>
                <a:gd name="T93" fmla="*/ 2147483647 h 1117"/>
                <a:gd name="T94" fmla="*/ 2147483647 w 1366"/>
                <a:gd name="T95" fmla="*/ 2147483647 h 1117"/>
                <a:gd name="T96" fmla="*/ 2147483647 w 1366"/>
                <a:gd name="T97" fmla="*/ 2147483647 h 1117"/>
                <a:gd name="T98" fmla="*/ 2147483647 w 1366"/>
                <a:gd name="T99" fmla="*/ 2147483647 h 1117"/>
                <a:gd name="T100" fmla="*/ 2147483647 w 1366"/>
                <a:gd name="T101" fmla="*/ 2147483647 h 1117"/>
                <a:gd name="T102" fmla="*/ 2147483647 w 1366"/>
                <a:gd name="T103" fmla="*/ 2147483647 h 1117"/>
                <a:gd name="T104" fmla="*/ 2147483647 w 1366"/>
                <a:gd name="T105" fmla="*/ 2147483647 h 1117"/>
                <a:gd name="T106" fmla="*/ 2147483647 w 1366"/>
                <a:gd name="T107" fmla="*/ 2147483647 h 1117"/>
                <a:gd name="T108" fmla="*/ 2147483647 w 1366"/>
                <a:gd name="T109" fmla="*/ 2147483647 h 1117"/>
                <a:gd name="T110" fmla="*/ 2147483647 w 1366"/>
                <a:gd name="T111" fmla="*/ 2147483647 h 1117"/>
                <a:gd name="T112" fmla="*/ 2147483647 w 1366"/>
                <a:gd name="T113" fmla="*/ 2147483647 h 1117"/>
                <a:gd name="T114" fmla="*/ 2147483647 w 1366"/>
                <a:gd name="T115" fmla="*/ 2147483647 h 1117"/>
                <a:gd name="T116" fmla="*/ 2147483647 w 1366"/>
                <a:gd name="T117" fmla="*/ 2147483647 h 1117"/>
                <a:gd name="T118" fmla="*/ 2147483647 w 1366"/>
                <a:gd name="T119" fmla="*/ 2147483647 h 111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66"/>
                <a:gd name="T181" fmla="*/ 0 h 1117"/>
                <a:gd name="T182" fmla="*/ 1366 w 1366"/>
                <a:gd name="T183" fmla="*/ 1117 h 111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66" h="1117">
                  <a:moveTo>
                    <a:pt x="17" y="448"/>
                  </a:moveTo>
                  <a:lnTo>
                    <a:pt x="23" y="442"/>
                  </a:lnTo>
                  <a:lnTo>
                    <a:pt x="28" y="442"/>
                  </a:lnTo>
                  <a:lnTo>
                    <a:pt x="34" y="437"/>
                  </a:lnTo>
                  <a:lnTo>
                    <a:pt x="34" y="431"/>
                  </a:lnTo>
                  <a:lnTo>
                    <a:pt x="34" y="425"/>
                  </a:lnTo>
                  <a:lnTo>
                    <a:pt x="34" y="420"/>
                  </a:lnTo>
                  <a:lnTo>
                    <a:pt x="34" y="414"/>
                  </a:lnTo>
                  <a:lnTo>
                    <a:pt x="28" y="414"/>
                  </a:lnTo>
                  <a:lnTo>
                    <a:pt x="23" y="414"/>
                  </a:lnTo>
                  <a:lnTo>
                    <a:pt x="17" y="403"/>
                  </a:lnTo>
                  <a:lnTo>
                    <a:pt x="11" y="403"/>
                  </a:lnTo>
                  <a:lnTo>
                    <a:pt x="6" y="391"/>
                  </a:lnTo>
                  <a:lnTo>
                    <a:pt x="0" y="380"/>
                  </a:lnTo>
                  <a:lnTo>
                    <a:pt x="11" y="363"/>
                  </a:lnTo>
                  <a:lnTo>
                    <a:pt x="11" y="352"/>
                  </a:lnTo>
                  <a:lnTo>
                    <a:pt x="17" y="346"/>
                  </a:lnTo>
                  <a:lnTo>
                    <a:pt x="17" y="340"/>
                  </a:lnTo>
                  <a:lnTo>
                    <a:pt x="23" y="340"/>
                  </a:lnTo>
                  <a:lnTo>
                    <a:pt x="23" y="329"/>
                  </a:lnTo>
                  <a:lnTo>
                    <a:pt x="17" y="329"/>
                  </a:lnTo>
                  <a:lnTo>
                    <a:pt x="23" y="329"/>
                  </a:lnTo>
                  <a:lnTo>
                    <a:pt x="23" y="323"/>
                  </a:lnTo>
                  <a:lnTo>
                    <a:pt x="34" y="323"/>
                  </a:lnTo>
                  <a:lnTo>
                    <a:pt x="40" y="317"/>
                  </a:lnTo>
                  <a:lnTo>
                    <a:pt x="51" y="323"/>
                  </a:lnTo>
                  <a:lnTo>
                    <a:pt x="57" y="323"/>
                  </a:lnTo>
                  <a:lnTo>
                    <a:pt x="62" y="329"/>
                  </a:lnTo>
                  <a:lnTo>
                    <a:pt x="68" y="329"/>
                  </a:lnTo>
                  <a:lnTo>
                    <a:pt x="68" y="334"/>
                  </a:lnTo>
                  <a:lnTo>
                    <a:pt x="74" y="334"/>
                  </a:lnTo>
                  <a:lnTo>
                    <a:pt x="79" y="323"/>
                  </a:lnTo>
                  <a:lnTo>
                    <a:pt x="79" y="317"/>
                  </a:lnTo>
                  <a:lnTo>
                    <a:pt x="79" y="312"/>
                  </a:lnTo>
                  <a:lnTo>
                    <a:pt x="79" y="306"/>
                  </a:lnTo>
                  <a:lnTo>
                    <a:pt x="79" y="300"/>
                  </a:lnTo>
                  <a:lnTo>
                    <a:pt x="85" y="289"/>
                  </a:lnTo>
                  <a:lnTo>
                    <a:pt x="91" y="278"/>
                  </a:lnTo>
                  <a:lnTo>
                    <a:pt x="96" y="272"/>
                  </a:lnTo>
                  <a:lnTo>
                    <a:pt x="96" y="266"/>
                  </a:lnTo>
                  <a:lnTo>
                    <a:pt x="96" y="261"/>
                  </a:lnTo>
                  <a:lnTo>
                    <a:pt x="96" y="249"/>
                  </a:lnTo>
                  <a:lnTo>
                    <a:pt x="96" y="244"/>
                  </a:lnTo>
                  <a:lnTo>
                    <a:pt x="96" y="238"/>
                  </a:lnTo>
                  <a:lnTo>
                    <a:pt x="96" y="232"/>
                  </a:lnTo>
                  <a:lnTo>
                    <a:pt x="96" y="227"/>
                  </a:lnTo>
                  <a:lnTo>
                    <a:pt x="91" y="227"/>
                  </a:lnTo>
                  <a:lnTo>
                    <a:pt x="85" y="221"/>
                  </a:lnTo>
                  <a:lnTo>
                    <a:pt x="79" y="215"/>
                  </a:lnTo>
                  <a:lnTo>
                    <a:pt x="74" y="210"/>
                  </a:lnTo>
                  <a:lnTo>
                    <a:pt x="74" y="204"/>
                  </a:lnTo>
                  <a:lnTo>
                    <a:pt x="68" y="198"/>
                  </a:lnTo>
                  <a:lnTo>
                    <a:pt x="68" y="193"/>
                  </a:lnTo>
                  <a:lnTo>
                    <a:pt x="62" y="193"/>
                  </a:lnTo>
                  <a:lnTo>
                    <a:pt x="62" y="187"/>
                  </a:lnTo>
                  <a:lnTo>
                    <a:pt x="62" y="181"/>
                  </a:lnTo>
                  <a:lnTo>
                    <a:pt x="62" y="176"/>
                  </a:lnTo>
                  <a:lnTo>
                    <a:pt x="68" y="164"/>
                  </a:lnTo>
                  <a:lnTo>
                    <a:pt x="68" y="159"/>
                  </a:lnTo>
                  <a:lnTo>
                    <a:pt x="68" y="153"/>
                  </a:lnTo>
                  <a:lnTo>
                    <a:pt x="68" y="147"/>
                  </a:lnTo>
                  <a:lnTo>
                    <a:pt x="68" y="142"/>
                  </a:lnTo>
                  <a:lnTo>
                    <a:pt x="68" y="136"/>
                  </a:lnTo>
                  <a:lnTo>
                    <a:pt x="62" y="125"/>
                  </a:lnTo>
                  <a:lnTo>
                    <a:pt x="62" y="119"/>
                  </a:lnTo>
                  <a:lnTo>
                    <a:pt x="57" y="113"/>
                  </a:lnTo>
                  <a:lnTo>
                    <a:pt x="51" y="113"/>
                  </a:lnTo>
                  <a:lnTo>
                    <a:pt x="51" y="108"/>
                  </a:lnTo>
                  <a:lnTo>
                    <a:pt x="51" y="102"/>
                  </a:lnTo>
                  <a:lnTo>
                    <a:pt x="51" y="96"/>
                  </a:lnTo>
                  <a:lnTo>
                    <a:pt x="51" y="91"/>
                  </a:lnTo>
                  <a:lnTo>
                    <a:pt x="62" y="85"/>
                  </a:lnTo>
                  <a:lnTo>
                    <a:pt x="68" y="91"/>
                  </a:lnTo>
                  <a:lnTo>
                    <a:pt x="68" y="96"/>
                  </a:lnTo>
                  <a:lnTo>
                    <a:pt x="74" y="96"/>
                  </a:lnTo>
                  <a:lnTo>
                    <a:pt x="79" y="96"/>
                  </a:lnTo>
                  <a:lnTo>
                    <a:pt x="79" y="102"/>
                  </a:lnTo>
                  <a:lnTo>
                    <a:pt x="85" y="102"/>
                  </a:lnTo>
                  <a:lnTo>
                    <a:pt x="85" y="108"/>
                  </a:lnTo>
                  <a:lnTo>
                    <a:pt x="91" y="108"/>
                  </a:lnTo>
                  <a:lnTo>
                    <a:pt x="96" y="108"/>
                  </a:lnTo>
                  <a:lnTo>
                    <a:pt x="102" y="108"/>
                  </a:lnTo>
                  <a:lnTo>
                    <a:pt x="102" y="113"/>
                  </a:lnTo>
                  <a:lnTo>
                    <a:pt x="108" y="113"/>
                  </a:lnTo>
                  <a:lnTo>
                    <a:pt x="113" y="113"/>
                  </a:lnTo>
                  <a:lnTo>
                    <a:pt x="113" y="119"/>
                  </a:lnTo>
                  <a:lnTo>
                    <a:pt x="125" y="125"/>
                  </a:lnTo>
                  <a:lnTo>
                    <a:pt x="136" y="130"/>
                  </a:lnTo>
                  <a:lnTo>
                    <a:pt x="153" y="130"/>
                  </a:lnTo>
                  <a:lnTo>
                    <a:pt x="159" y="130"/>
                  </a:lnTo>
                  <a:lnTo>
                    <a:pt x="164" y="130"/>
                  </a:lnTo>
                  <a:lnTo>
                    <a:pt x="170" y="130"/>
                  </a:lnTo>
                  <a:lnTo>
                    <a:pt x="181" y="130"/>
                  </a:lnTo>
                  <a:lnTo>
                    <a:pt x="187" y="130"/>
                  </a:lnTo>
                  <a:lnTo>
                    <a:pt x="193" y="125"/>
                  </a:lnTo>
                  <a:lnTo>
                    <a:pt x="198" y="125"/>
                  </a:lnTo>
                  <a:lnTo>
                    <a:pt x="204" y="119"/>
                  </a:lnTo>
                  <a:lnTo>
                    <a:pt x="210" y="119"/>
                  </a:lnTo>
                  <a:lnTo>
                    <a:pt x="215" y="119"/>
                  </a:lnTo>
                  <a:lnTo>
                    <a:pt x="221" y="119"/>
                  </a:lnTo>
                  <a:lnTo>
                    <a:pt x="221" y="125"/>
                  </a:lnTo>
                  <a:lnTo>
                    <a:pt x="227" y="125"/>
                  </a:lnTo>
                  <a:lnTo>
                    <a:pt x="232" y="125"/>
                  </a:lnTo>
                  <a:lnTo>
                    <a:pt x="238" y="125"/>
                  </a:lnTo>
                  <a:lnTo>
                    <a:pt x="244" y="125"/>
                  </a:lnTo>
                  <a:lnTo>
                    <a:pt x="244" y="130"/>
                  </a:lnTo>
                  <a:lnTo>
                    <a:pt x="249" y="130"/>
                  </a:lnTo>
                  <a:lnTo>
                    <a:pt x="255" y="136"/>
                  </a:lnTo>
                  <a:lnTo>
                    <a:pt x="255" y="142"/>
                  </a:lnTo>
                  <a:lnTo>
                    <a:pt x="261" y="142"/>
                  </a:lnTo>
                  <a:lnTo>
                    <a:pt x="266" y="142"/>
                  </a:lnTo>
                  <a:lnTo>
                    <a:pt x="266" y="147"/>
                  </a:lnTo>
                  <a:lnTo>
                    <a:pt x="266" y="153"/>
                  </a:lnTo>
                  <a:lnTo>
                    <a:pt x="272" y="153"/>
                  </a:lnTo>
                  <a:lnTo>
                    <a:pt x="272" y="159"/>
                  </a:lnTo>
                  <a:lnTo>
                    <a:pt x="278" y="159"/>
                  </a:lnTo>
                  <a:lnTo>
                    <a:pt x="283" y="164"/>
                  </a:lnTo>
                  <a:lnTo>
                    <a:pt x="289" y="164"/>
                  </a:lnTo>
                  <a:lnTo>
                    <a:pt x="295" y="170"/>
                  </a:lnTo>
                  <a:lnTo>
                    <a:pt x="300" y="170"/>
                  </a:lnTo>
                  <a:lnTo>
                    <a:pt x="300" y="176"/>
                  </a:lnTo>
                  <a:lnTo>
                    <a:pt x="312" y="176"/>
                  </a:lnTo>
                  <a:lnTo>
                    <a:pt x="317" y="176"/>
                  </a:lnTo>
                  <a:lnTo>
                    <a:pt x="323" y="176"/>
                  </a:lnTo>
                  <a:lnTo>
                    <a:pt x="323" y="181"/>
                  </a:lnTo>
                  <a:lnTo>
                    <a:pt x="329" y="181"/>
                  </a:lnTo>
                  <a:lnTo>
                    <a:pt x="334" y="181"/>
                  </a:lnTo>
                  <a:lnTo>
                    <a:pt x="340" y="181"/>
                  </a:lnTo>
                  <a:lnTo>
                    <a:pt x="346" y="181"/>
                  </a:lnTo>
                  <a:lnTo>
                    <a:pt x="351" y="181"/>
                  </a:lnTo>
                  <a:lnTo>
                    <a:pt x="357" y="181"/>
                  </a:lnTo>
                  <a:lnTo>
                    <a:pt x="363" y="181"/>
                  </a:lnTo>
                  <a:lnTo>
                    <a:pt x="368" y="176"/>
                  </a:lnTo>
                  <a:lnTo>
                    <a:pt x="368" y="170"/>
                  </a:lnTo>
                  <a:lnTo>
                    <a:pt x="374" y="170"/>
                  </a:lnTo>
                  <a:lnTo>
                    <a:pt x="380" y="170"/>
                  </a:lnTo>
                  <a:lnTo>
                    <a:pt x="380" y="164"/>
                  </a:lnTo>
                  <a:lnTo>
                    <a:pt x="385" y="164"/>
                  </a:lnTo>
                  <a:lnTo>
                    <a:pt x="397" y="164"/>
                  </a:lnTo>
                  <a:lnTo>
                    <a:pt x="402" y="164"/>
                  </a:lnTo>
                  <a:lnTo>
                    <a:pt x="408" y="164"/>
                  </a:lnTo>
                  <a:lnTo>
                    <a:pt x="408" y="170"/>
                  </a:lnTo>
                  <a:lnTo>
                    <a:pt x="408" y="176"/>
                  </a:lnTo>
                  <a:lnTo>
                    <a:pt x="408" y="181"/>
                  </a:lnTo>
                  <a:lnTo>
                    <a:pt x="408" y="187"/>
                  </a:lnTo>
                  <a:lnTo>
                    <a:pt x="408" y="204"/>
                  </a:lnTo>
                  <a:lnTo>
                    <a:pt x="408" y="221"/>
                  </a:lnTo>
                  <a:lnTo>
                    <a:pt x="408" y="232"/>
                  </a:lnTo>
                  <a:lnTo>
                    <a:pt x="402" y="232"/>
                  </a:lnTo>
                  <a:lnTo>
                    <a:pt x="402" y="238"/>
                  </a:lnTo>
                  <a:lnTo>
                    <a:pt x="397" y="238"/>
                  </a:lnTo>
                  <a:lnTo>
                    <a:pt x="397" y="244"/>
                  </a:lnTo>
                  <a:lnTo>
                    <a:pt x="397" y="249"/>
                  </a:lnTo>
                  <a:lnTo>
                    <a:pt x="391" y="249"/>
                  </a:lnTo>
                  <a:lnTo>
                    <a:pt x="385" y="255"/>
                  </a:lnTo>
                  <a:lnTo>
                    <a:pt x="385" y="261"/>
                  </a:lnTo>
                  <a:lnTo>
                    <a:pt x="380" y="261"/>
                  </a:lnTo>
                  <a:lnTo>
                    <a:pt x="374" y="261"/>
                  </a:lnTo>
                  <a:lnTo>
                    <a:pt x="368" y="266"/>
                  </a:lnTo>
                  <a:lnTo>
                    <a:pt x="363" y="266"/>
                  </a:lnTo>
                  <a:lnTo>
                    <a:pt x="357" y="272"/>
                  </a:lnTo>
                  <a:lnTo>
                    <a:pt x="351" y="278"/>
                  </a:lnTo>
                  <a:lnTo>
                    <a:pt x="346" y="278"/>
                  </a:lnTo>
                  <a:lnTo>
                    <a:pt x="346" y="283"/>
                  </a:lnTo>
                  <a:lnTo>
                    <a:pt x="340" y="283"/>
                  </a:lnTo>
                  <a:lnTo>
                    <a:pt x="340" y="289"/>
                  </a:lnTo>
                  <a:lnTo>
                    <a:pt x="334" y="295"/>
                  </a:lnTo>
                  <a:lnTo>
                    <a:pt x="329" y="295"/>
                  </a:lnTo>
                  <a:lnTo>
                    <a:pt x="329" y="300"/>
                  </a:lnTo>
                  <a:lnTo>
                    <a:pt x="329" y="306"/>
                  </a:lnTo>
                  <a:lnTo>
                    <a:pt x="329" y="312"/>
                  </a:lnTo>
                  <a:lnTo>
                    <a:pt x="323" y="323"/>
                  </a:lnTo>
                  <a:lnTo>
                    <a:pt x="323" y="329"/>
                  </a:lnTo>
                  <a:lnTo>
                    <a:pt x="323" y="340"/>
                  </a:lnTo>
                  <a:lnTo>
                    <a:pt x="323" y="346"/>
                  </a:lnTo>
                  <a:lnTo>
                    <a:pt x="323" y="352"/>
                  </a:lnTo>
                  <a:lnTo>
                    <a:pt x="329" y="357"/>
                  </a:lnTo>
                  <a:lnTo>
                    <a:pt x="329" y="363"/>
                  </a:lnTo>
                  <a:lnTo>
                    <a:pt x="329" y="369"/>
                  </a:lnTo>
                  <a:lnTo>
                    <a:pt x="329" y="374"/>
                  </a:lnTo>
                  <a:lnTo>
                    <a:pt x="334" y="374"/>
                  </a:lnTo>
                  <a:lnTo>
                    <a:pt x="340" y="380"/>
                  </a:lnTo>
                  <a:lnTo>
                    <a:pt x="340" y="386"/>
                  </a:lnTo>
                  <a:lnTo>
                    <a:pt x="346" y="386"/>
                  </a:lnTo>
                  <a:lnTo>
                    <a:pt x="351" y="391"/>
                  </a:lnTo>
                  <a:lnTo>
                    <a:pt x="351" y="397"/>
                  </a:lnTo>
                  <a:lnTo>
                    <a:pt x="351" y="403"/>
                  </a:lnTo>
                  <a:lnTo>
                    <a:pt x="351" y="408"/>
                  </a:lnTo>
                  <a:lnTo>
                    <a:pt x="351" y="414"/>
                  </a:lnTo>
                  <a:lnTo>
                    <a:pt x="351" y="420"/>
                  </a:lnTo>
                  <a:lnTo>
                    <a:pt x="351" y="425"/>
                  </a:lnTo>
                  <a:lnTo>
                    <a:pt x="357" y="431"/>
                  </a:lnTo>
                  <a:lnTo>
                    <a:pt x="368" y="431"/>
                  </a:lnTo>
                  <a:lnTo>
                    <a:pt x="374" y="431"/>
                  </a:lnTo>
                  <a:lnTo>
                    <a:pt x="380" y="431"/>
                  </a:lnTo>
                  <a:lnTo>
                    <a:pt x="385" y="431"/>
                  </a:lnTo>
                  <a:lnTo>
                    <a:pt x="391" y="425"/>
                  </a:lnTo>
                  <a:lnTo>
                    <a:pt x="397" y="425"/>
                  </a:lnTo>
                  <a:lnTo>
                    <a:pt x="397" y="420"/>
                  </a:lnTo>
                  <a:lnTo>
                    <a:pt x="397" y="414"/>
                  </a:lnTo>
                  <a:lnTo>
                    <a:pt x="397" y="403"/>
                  </a:lnTo>
                  <a:lnTo>
                    <a:pt x="397" y="397"/>
                  </a:lnTo>
                  <a:lnTo>
                    <a:pt x="397" y="391"/>
                  </a:lnTo>
                  <a:lnTo>
                    <a:pt x="397" y="386"/>
                  </a:lnTo>
                  <a:lnTo>
                    <a:pt x="402" y="386"/>
                  </a:lnTo>
                  <a:lnTo>
                    <a:pt x="402" y="380"/>
                  </a:lnTo>
                  <a:lnTo>
                    <a:pt x="408" y="380"/>
                  </a:lnTo>
                  <a:lnTo>
                    <a:pt x="414" y="380"/>
                  </a:lnTo>
                  <a:lnTo>
                    <a:pt x="431" y="386"/>
                  </a:lnTo>
                  <a:lnTo>
                    <a:pt x="436" y="386"/>
                  </a:lnTo>
                  <a:lnTo>
                    <a:pt x="442" y="386"/>
                  </a:lnTo>
                  <a:lnTo>
                    <a:pt x="448" y="386"/>
                  </a:lnTo>
                  <a:lnTo>
                    <a:pt x="453" y="386"/>
                  </a:lnTo>
                  <a:lnTo>
                    <a:pt x="459" y="386"/>
                  </a:lnTo>
                  <a:lnTo>
                    <a:pt x="465" y="386"/>
                  </a:lnTo>
                  <a:lnTo>
                    <a:pt x="471" y="386"/>
                  </a:lnTo>
                  <a:lnTo>
                    <a:pt x="471" y="380"/>
                  </a:lnTo>
                  <a:lnTo>
                    <a:pt x="476" y="380"/>
                  </a:lnTo>
                  <a:lnTo>
                    <a:pt x="482" y="374"/>
                  </a:lnTo>
                  <a:lnTo>
                    <a:pt x="482" y="369"/>
                  </a:lnTo>
                  <a:lnTo>
                    <a:pt x="482" y="363"/>
                  </a:lnTo>
                  <a:lnTo>
                    <a:pt x="482" y="357"/>
                  </a:lnTo>
                  <a:lnTo>
                    <a:pt x="482" y="352"/>
                  </a:lnTo>
                  <a:lnTo>
                    <a:pt x="482" y="346"/>
                  </a:lnTo>
                  <a:lnTo>
                    <a:pt x="476" y="346"/>
                  </a:lnTo>
                  <a:lnTo>
                    <a:pt x="471" y="340"/>
                  </a:lnTo>
                  <a:lnTo>
                    <a:pt x="471" y="329"/>
                  </a:lnTo>
                  <a:lnTo>
                    <a:pt x="471" y="323"/>
                  </a:lnTo>
                  <a:lnTo>
                    <a:pt x="465" y="323"/>
                  </a:lnTo>
                  <a:lnTo>
                    <a:pt x="465" y="317"/>
                  </a:lnTo>
                  <a:lnTo>
                    <a:pt x="459" y="317"/>
                  </a:lnTo>
                  <a:lnTo>
                    <a:pt x="453" y="317"/>
                  </a:lnTo>
                  <a:lnTo>
                    <a:pt x="453" y="312"/>
                  </a:lnTo>
                  <a:lnTo>
                    <a:pt x="453" y="306"/>
                  </a:lnTo>
                  <a:lnTo>
                    <a:pt x="453" y="300"/>
                  </a:lnTo>
                  <a:lnTo>
                    <a:pt x="453" y="289"/>
                  </a:lnTo>
                  <a:lnTo>
                    <a:pt x="453" y="278"/>
                  </a:lnTo>
                  <a:lnTo>
                    <a:pt x="453" y="266"/>
                  </a:lnTo>
                  <a:lnTo>
                    <a:pt x="453" y="261"/>
                  </a:lnTo>
                  <a:lnTo>
                    <a:pt x="448" y="255"/>
                  </a:lnTo>
                  <a:lnTo>
                    <a:pt x="442" y="244"/>
                  </a:lnTo>
                  <a:lnTo>
                    <a:pt x="442" y="232"/>
                  </a:lnTo>
                  <a:lnTo>
                    <a:pt x="442" y="221"/>
                  </a:lnTo>
                  <a:lnTo>
                    <a:pt x="442" y="215"/>
                  </a:lnTo>
                  <a:lnTo>
                    <a:pt x="448" y="215"/>
                  </a:lnTo>
                  <a:lnTo>
                    <a:pt x="453" y="221"/>
                  </a:lnTo>
                  <a:lnTo>
                    <a:pt x="459" y="221"/>
                  </a:lnTo>
                  <a:lnTo>
                    <a:pt x="465" y="221"/>
                  </a:lnTo>
                  <a:lnTo>
                    <a:pt x="471" y="227"/>
                  </a:lnTo>
                  <a:lnTo>
                    <a:pt x="482" y="227"/>
                  </a:lnTo>
                  <a:lnTo>
                    <a:pt x="493" y="221"/>
                  </a:lnTo>
                  <a:lnTo>
                    <a:pt x="505" y="221"/>
                  </a:lnTo>
                  <a:lnTo>
                    <a:pt x="510" y="221"/>
                  </a:lnTo>
                  <a:lnTo>
                    <a:pt x="510" y="215"/>
                  </a:lnTo>
                  <a:lnTo>
                    <a:pt x="516" y="215"/>
                  </a:lnTo>
                  <a:lnTo>
                    <a:pt x="522" y="210"/>
                  </a:lnTo>
                  <a:lnTo>
                    <a:pt x="527" y="210"/>
                  </a:lnTo>
                  <a:lnTo>
                    <a:pt x="539" y="210"/>
                  </a:lnTo>
                  <a:lnTo>
                    <a:pt x="550" y="204"/>
                  </a:lnTo>
                  <a:lnTo>
                    <a:pt x="550" y="198"/>
                  </a:lnTo>
                  <a:lnTo>
                    <a:pt x="556" y="198"/>
                  </a:lnTo>
                  <a:lnTo>
                    <a:pt x="556" y="193"/>
                  </a:lnTo>
                  <a:lnTo>
                    <a:pt x="556" y="187"/>
                  </a:lnTo>
                  <a:lnTo>
                    <a:pt x="550" y="181"/>
                  </a:lnTo>
                  <a:lnTo>
                    <a:pt x="544" y="181"/>
                  </a:lnTo>
                  <a:lnTo>
                    <a:pt x="539" y="181"/>
                  </a:lnTo>
                  <a:lnTo>
                    <a:pt x="539" y="176"/>
                  </a:lnTo>
                  <a:lnTo>
                    <a:pt x="533" y="176"/>
                  </a:lnTo>
                  <a:lnTo>
                    <a:pt x="527" y="176"/>
                  </a:lnTo>
                  <a:lnTo>
                    <a:pt x="527" y="170"/>
                  </a:lnTo>
                  <a:lnTo>
                    <a:pt x="522" y="170"/>
                  </a:lnTo>
                  <a:lnTo>
                    <a:pt x="522" y="164"/>
                  </a:lnTo>
                  <a:lnTo>
                    <a:pt x="527" y="164"/>
                  </a:lnTo>
                  <a:lnTo>
                    <a:pt x="533" y="164"/>
                  </a:lnTo>
                  <a:lnTo>
                    <a:pt x="533" y="153"/>
                  </a:lnTo>
                  <a:lnTo>
                    <a:pt x="539" y="147"/>
                  </a:lnTo>
                  <a:lnTo>
                    <a:pt x="539" y="142"/>
                  </a:lnTo>
                  <a:lnTo>
                    <a:pt x="539" y="136"/>
                  </a:lnTo>
                  <a:lnTo>
                    <a:pt x="533" y="125"/>
                  </a:lnTo>
                  <a:lnTo>
                    <a:pt x="533" y="113"/>
                  </a:lnTo>
                  <a:lnTo>
                    <a:pt x="533" y="108"/>
                  </a:lnTo>
                  <a:lnTo>
                    <a:pt x="527" y="108"/>
                  </a:lnTo>
                  <a:lnTo>
                    <a:pt x="527" y="102"/>
                  </a:lnTo>
                  <a:lnTo>
                    <a:pt x="522" y="102"/>
                  </a:lnTo>
                  <a:lnTo>
                    <a:pt x="522" y="96"/>
                  </a:lnTo>
                  <a:lnTo>
                    <a:pt x="516" y="96"/>
                  </a:lnTo>
                  <a:lnTo>
                    <a:pt x="505" y="96"/>
                  </a:lnTo>
                  <a:lnTo>
                    <a:pt x="493" y="96"/>
                  </a:lnTo>
                  <a:lnTo>
                    <a:pt x="488" y="96"/>
                  </a:lnTo>
                  <a:lnTo>
                    <a:pt x="482" y="96"/>
                  </a:lnTo>
                  <a:lnTo>
                    <a:pt x="482" y="91"/>
                  </a:lnTo>
                  <a:lnTo>
                    <a:pt x="476" y="85"/>
                  </a:lnTo>
                  <a:lnTo>
                    <a:pt x="471" y="79"/>
                  </a:lnTo>
                  <a:lnTo>
                    <a:pt x="465" y="79"/>
                  </a:lnTo>
                  <a:lnTo>
                    <a:pt x="459" y="79"/>
                  </a:lnTo>
                  <a:lnTo>
                    <a:pt x="453" y="74"/>
                  </a:lnTo>
                  <a:lnTo>
                    <a:pt x="448" y="68"/>
                  </a:lnTo>
                  <a:lnTo>
                    <a:pt x="442" y="68"/>
                  </a:lnTo>
                  <a:lnTo>
                    <a:pt x="436" y="62"/>
                  </a:lnTo>
                  <a:lnTo>
                    <a:pt x="436" y="57"/>
                  </a:lnTo>
                  <a:lnTo>
                    <a:pt x="425" y="57"/>
                  </a:lnTo>
                  <a:lnTo>
                    <a:pt x="425" y="51"/>
                  </a:lnTo>
                  <a:lnTo>
                    <a:pt x="419" y="51"/>
                  </a:lnTo>
                  <a:lnTo>
                    <a:pt x="419" y="45"/>
                  </a:lnTo>
                  <a:lnTo>
                    <a:pt x="419" y="40"/>
                  </a:lnTo>
                  <a:lnTo>
                    <a:pt x="419" y="34"/>
                  </a:lnTo>
                  <a:lnTo>
                    <a:pt x="425" y="34"/>
                  </a:lnTo>
                  <a:lnTo>
                    <a:pt x="431" y="28"/>
                  </a:lnTo>
                  <a:lnTo>
                    <a:pt x="436" y="28"/>
                  </a:lnTo>
                  <a:lnTo>
                    <a:pt x="442" y="28"/>
                  </a:lnTo>
                  <a:lnTo>
                    <a:pt x="442" y="23"/>
                  </a:lnTo>
                  <a:lnTo>
                    <a:pt x="448" y="23"/>
                  </a:lnTo>
                  <a:lnTo>
                    <a:pt x="448" y="17"/>
                  </a:lnTo>
                  <a:lnTo>
                    <a:pt x="453" y="17"/>
                  </a:lnTo>
                  <a:lnTo>
                    <a:pt x="459" y="17"/>
                  </a:lnTo>
                  <a:lnTo>
                    <a:pt x="465" y="17"/>
                  </a:lnTo>
                  <a:lnTo>
                    <a:pt x="465" y="11"/>
                  </a:lnTo>
                  <a:lnTo>
                    <a:pt x="476" y="11"/>
                  </a:lnTo>
                  <a:lnTo>
                    <a:pt x="505" y="11"/>
                  </a:lnTo>
                  <a:lnTo>
                    <a:pt x="510" y="6"/>
                  </a:lnTo>
                  <a:lnTo>
                    <a:pt x="522" y="6"/>
                  </a:lnTo>
                  <a:lnTo>
                    <a:pt x="533" y="0"/>
                  </a:lnTo>
                  <a:lnTo>
                    <a:pt x="539" y="0"/>
                  </a:lnTo>
                  <a:lnTo>
                    <a:pt x="561" y="0"/>
                  </a:lnTo>
                  <a:lnTo>
                    <a:pt x="573" y="0"/>
                  </a:lnTo>
                  <a:lnTo>
                    <a:pt x="578" y="0"/>
                  </a:lnTo>
                  <a:lnTo>
                    <a:pt x="584" y="0"/>
                  </a:lnTo>
                  <a:lnTo>
                    <a:pt x="590" y="0"/>
                  </a:lnTo>
                  <a:lnTo>
                    <a:pt x="601" y="0"/>
                  </a:lnTo>
                  <a:lnTo>
                    <a:pt x="607" y="0"/>
                  </a:lnTo>
                  <a:lnTo>
                    <a:pt x="612" y="6"/>
                  </a:lnTo>
                  <a:lnTo>
                    <a:pt x="618" y="6"/>
                  </a:lnTo>
                  <a:lnTo>
                    <a:pt x="624" y="11"/>
                  </a:lnTo>
                  <a:lnTo>
                    <a:pt x="624" y="17"/>
                  </a:lnTo>
                  <a:lnTo>
                    <a:pt x="629" y="17"/>
                  </a:lnTo>
                  <a:lnTo>
                    <a:pt x="635" y="28"/>
                  </a:lnTo>
                  <a:lnTo>
                    <a:pt x="635" y="34"/>
                  </a:lnTo>
                  <a:lnTo>
                    <a:pt x="635" y="40"/>
                  </a:lnTo>
                  <a:lnTo>
                    <a:pt x="635" y="45"/>
                  </a:lnTo>
                  <a:lnTo>
                    <a:pt x="641" y="51"/>
                  </a:lnTo>
                  <a:lnTo>
                    <a:pt x="641" y="57"/>
                  </a:lnTo>
                  <a:lnTo>
                    <a:pt x="646" y="68"/>
                  </a:lnTo>
                  <a:lnTo>
                    <a:pt x="646" y="79"/>
                  </a:lnTo>
                  <a:lnTo>
                    <a:pt x="646" y="91"/>
                  </a:lnTo>
                  <a:lnTo>
                    <a:pt x="652" y="96"/>
                  </a:lnTo>
                  <a:lnTo>
                    <a:pt x="652" y="108"/>
                  </a:lnTo>
                  <a:lnTo>
                    <a:pt x="663" y="113"/>
                  </a:lnTo>
                  <a:lnTo>
                    <a:pt x="663" y="119"/>
                  </a:lnTo>
                  <a:lnTo>
                    <a:pt x="669" y="119"/>
                  </a:lnTo>
                  <a:lnTo>
                    <a:pt x="675" y="125"/>
                  </a:lnTo>
                  <a:lnTo>
                    <a:pt x="680" y="125"/>
                  </a:lnTo>
                  <a:lnTo>
                    <a:pt x="686" y="125"/>
                  </a:lnTo>
                  <a:lnTo>
                    <a:pt x="686" y="130"/>
                  </a:lnTo>
                  <a:lnTo>
                    <a:pt x="692" y="130"/>
                  </a:lnTo>
                  <a:lnTo>
                    <a:pt x="703" y="136"/>
                  </a:lnTo>
                  <a:lnTo>
                    <a:pt x="714" y="136"/>
                  </a:lnTo>
                  <a:lnTo>
                    <a:pt x="726" y="136"/>
                  </a:lnTo>
                  <a:lnTo>
                    <a:pt x="743" y="136"/>
                  </a:lnTo>
                  <a:lnTo>
                    <a:pt x="760" y="136"/>
                  </a:lnTo>
                  <a:lnTo>
                    <a:pt x="765" y="136"/>
                  </a:lnTo>
                  <a:lnTo>
                    <a:pt x="777" y="136"/>
                  </a:lnTo>
                  <a:lnTo>
                    <a:pt x="782" y="136"/>
                  </a:lnTo>
                  <a:lnTo>
                    <a:pt x="799" y="130"/>
                  </a:lnTo>
                  <a:lnTo>
                    <a:pt x="816" y="125"/>
                  </a:lnTo>
                  <a:lnTo>
                    <a:pt x="822" y="125"/>
                  </a:lnTo>
                  <a:lnTo>
                    <a:pt x="828" y="119"/>
                  </a:lnTo>
                  <a:lnTo>
                    <a:pt x="833" y="119"/>
                  </a:lnTo>
                  <a:lnTo>
                    <a:pt x="833" y="113"/>
                  </a:lnTo>
                  <a:lnTo>
                    <a:pt x="839" y="113"/>
                  </a:lnTo>
                  <a:lnTo>
                    <a:pt x="845" y="113"/>
                  </a:lnTo>
                  <a:lnTo>
                    <a:pt x="845" y="108"/>
                  </a:lnTo>
                  <a:lnTo>
                    <a:pt x="850" y="108"/>
                  </a:lnTo>
                  <a:lnTo>
                    <a:pt x="856" y="102"/>
                  </a:lnTo>
                  <a:lnTo>
                    <a:pt x="862" y="96"/>
                  </a:lnTo>
                  <a:lnTo>
                    <a:pt x="867" y="96"/>
                  </a:lnTo>
                  <a:lnTo>
                    <a:pt x="867" y="91"/>
                  </a:lnTo>
                  <a:lnTo>
                    <a:pt x="873" y="91"/>
                  </a:lnTo>
                  <a:lnTo>
                    <a:pt x="879" y="91"/>
                  </a:lnTo>
                  <a:lnTo>
                    <a:pt x="879" y="96"/>
                  </a:lnTo>
                  <a:lnTo>
                    <a:pt x="890" y="108"/>
                  </a:lnTo>
                  <a:lnTo>
                    <a:pt x="890" y="113"/>
                  </a:lnTo>
                  <a:lnTo>
                    <a:pt x="896" y="113"/>
                  </a:lnTo>
                  <a:lnTo>
                    <a:pt x="896" y="119"/>
                  </a:lnTo>
                  <a:lnTo>
                    <a:pt x="901" y="125"/>
                  </a:lnTo>
                  <a:lnTo>
                    <a:pt x="901" y="130"/>
                  </a:lnTo>
                  <a:lnTo>
                    <a:pt x="901" y="136"/>
                  </a:lnTo>
                  <a:lnTo>
                    <a:pt x="907" y="136"/>
                  </a:lnTo>
                  <a:lnTo>
                    <a:pt x="907" y="142"/>
                  </a:lnTo>
                  <a:lnTo>
                    <a:pt x="913" y="142"/>
                  </a:lnTo>
                  <a:lnTo>
                    <a:pt x="918" y="147"/>
                  </a:lnTo>
                  <a:lnTo>
                    <a:pt x="918" y="153"/>
                  </a:lnTo>
                  <a:lnTo>
                    <a:pt x="918" y="159"/>
                  </a:lnTo>
                  <a:lnTo>
                    <a:pt x="924" y="164"/>
                  </a:lnTo>
                  <a:lnTo>
                    <a:pt x="924" y="170"/>
                  </a:lnTo>
                  <a:lnTo>
                    <a:pt x="930" y="176"/>
                  </a:lnTo>
                  <a:lnTo>
                    <a:pt x="924" y="176"/>
                  </a:lnTo>
                  <a:lnTo>
                    <a:pt x="918" y="181"/>
                  </a:lnTo>
                  <a:lnTo>
                    <a:pt x="918" y="187"/>
                  </a:lnTo>
                  <a:lnTo>
                    <a:pt x="913" y="193"/>
                  </a:lnTo>
                  <a:lnTo>
                    <a:pt x="907" y="198"/>
                  </a:lnTo>
                  <a:lnTo>
                    <a:pt x="907" y="204"/>
                  </a:lnTo>
                  <a:lnTo>
                    <a:pt x="907" y="210"/>
                  </a:lnTo>
                  <a:lnTo>
                    <a:pt x="907" y="215"/>
                  </a:lnTo>
                  <a:lnTo>
                    <a:pt x="907" y="221"/>
                  </a:lnTo>
                  <a:lnTo>
                    <a:pt x="901" y="227"/>
                  </a:lnTo>
                  <a:lnTo>
                    <a:pt x="901" y="232"/>
                  </a:lnTo>
                  <a:lnTo>
                    <a:pt x="901" y="238"/>
                  </a:lnTo>
                  <a:lnTo>
                    <a:pt x="907" y="238"/>
                  </a:lnTo>
                  <a:lnTo>
                    <a:pt x="907" y="244"/>
                  </a:lnTo>
                  <a:lnTo>
                    <a:pt x="907" y="249"/>
                  </a:lnTo>
                  <a:lnTo>
                    <a:pt x="913" y="249"/>
                  </a:lnTo>
                  <a:lnTo>
                    <a:pt x="913" y="261"/>
                  </a:lnTo>
                  <a:lnTo>
                    <a:pt x="907" y="261"/>
                  </a:lnTo>
                  <a:lnTo>
                    <a:pt x="907" y="266"/>
                  </a:lnTo>
                  <a:lnTo>
                    <a:pt x="913" y="278"/>
                  </a:lnTo>
                  <a:lnTo>
                    <a:pt x="913" y="283"/>
                  </a:lnTo>
                  <a:lnTo>
                    <a:pt x="907" y="283"/>
                  </a:lnTo>
                  <a:lnTo>
                    <a:pt x="907" y="289"/>
                  </a:lnTo>
                  <a:lnTo>
                    <a:pt x="901" y="295"/>
                  </a:lnTo>
                  <a:lnTo>
                    <a:pt x="901" y="300"/>
                  </a:lnTo>
                  <a:lnTo>
                    <a:pt x="901" y="306"/>
                  </a:lnTo>
                  <a:lnTo>
                    <a:pt x="901" y="312"/>
                  </a:lnTo>
                  <a:lnTo>
                    <a:pt x="901" y="317"/>
                  </a:lnTo>
                  <a:lnTo>
                    <a:pt x="901" y="323"/>
                  </a:lnTo>
                  <a:lnTo>
                    <a:pt x="907" y="323"/>
                  </a:lnTo>
                  <a:lnTo>
                    <a:pt x="913" y="323"/>
                  </a:lnTo>
                  <a:lnTo>
                    <a:pt x="913" y="329"/>
                  </a:lnTo>
                  <a:lnTo>
                    <a:pt x="918" y="329"/>
                  </a:lnTo>
                  <a:lnTo>
                    <a:pt x="918" y="334"/>
                  </a:lnTo>
                  <a:lnTo>
                    <a:pt x="918" y="340"/>
                  </a:lnTo>
                  <a:lnTo>
                    <a:pt x="918" y="346"/>
                  </a:lnTo>
                  <a:lnTo>
                    <a:pt x="918" y="352"/>
                  </a:lnTo>
                  <a:lnTo>
                    <a:pt x="924" y="352"/>
                  </a:lnTo>
                  <a:lnTo>
                    <a:pt x="930" y="352"/>
                  </a:lnTo>
                  <a:lnTo>
                    <a:pt x="935" y="352"/>
                  </a:lnTo>
                  <a:lnTo>
                    <a:pt x="941" y="352"/>
                  </a:lnTo>
                  <a:lnTo>
                    <a:pt x="947" y="352"/>
                  </a:lnTo>
                  <a:lnTo>
                    <a:pt x="947" y="346"/>
                  </a:lnTo>
                  <a:lnTo>
                    <a:pt x="952" y="346"/>
                  </a:lnTo>
                  <a:lnTo>
                    <a:pt x="958" y="334"/>
                  </a:lnTo>
                  <a:lnTo>
                    <a:pt x="958" y="329"/>
                  </a:lnTo>
                  <a:lnTo>
                    <a:pt x="964" y="329"/>
                  </a:lnTo>
                  <a:lnTo>
                    <a:pt x="964" y="323"/>
                  </a:lnTo>
                  <a:lnTo>
                    <a:pt x="964" y="317"/>
                  </a:lnTo>
                  <a:lnTo>
                    <a:pt x="969" y="317"/>
                  </a:lnTo>
                  <a:lnTo>
                    <a:pt x="975" y="317"/>
                  </a:lnTo>
                  <a:lnTo>
                    <a:pt x="975" y="312"/>
                  </a:lnTo>
                  <a:lnTo>
                    <a:pt x="981" y="312"/>
                  </a:lnTo>
                  <a:lnTo>
                    <a:pt x="981" y="306"/>
                  </a:lnTo>
                  <a:lnTo>
                    <a:pt x="986" y="306"/>
                  </a:lnTo>
                  <a:lnTo>
                    <a:pt x="992" y="306"/>
                  </a:lnTo>
                  <a:lnTo>
                    <a:pt x="992" y="300"/>
                  </a:lnTo>
                  <a:lnTo>
                    <a:pt x="992" y="295"/>
                  </a:lnTo>
                  <a:lnTo>
                    <a:pt x="998" y="295"/>
                  </a:lnTo>
                  <a:lnTo>
                    <a:pt x="1009" y="289"/>
                  </a:lnTo>
                  <a:lnTo>
                    <a:pt x="1009" y="283"/>
                  </a:lnTo>
                  <a:lnTo>
                    <a:pt x="1015" y="283"/>
                  </a:lnTo>
                  <a:lnTo>
                    <a:pt x="1015" y="278"/>
                  </a:lnTo>
                  <a:lnTo>
                    <a:pt x="1020" y="278"/>
                  </a:lnTo>
                  <a:lnTo>
                    <a:pt x="1026" y="278"/>
                  </a:lnTo>
                  <a:lnTo>
                    <a:pt x="1026" y="272"/>
                  </a:lnTo>
                  <a:lnTo>
                    <a:pt x="1032" y="272"/>
                  </a:lnTo>
                  <a:lnTo>
                    <a:pt x="1032" y="266"/>
                  </a:lnTo>
                  <a:lnTo>
                    <a:pt x="1037" y="266"/>
                  </a:lnTo>
                  <a:lnTo>
                    <a:pt x="1043" y="266"/>
                  </a:lnTo>
                  <a:lnTo>
                    <a:pt x="1043" y="272"/>
                  </a:lnTo>
                  <a:lnTo>
                    <a:pt x="1049" y="272"/>
                  </a:lnTo>
                  <a:lnTo>
                    <a:pt x="1049" y="278"/>
                  </a:lnTo>
                  <a:lnTo>
                    <a:pt x="1049" y="283"/>
                  </a:lnTo>
                  <a:lnTo>
                    <a:pt x="1054" y="289"/>
                  </a:lnTo>
                  <a:lnTo>
                    <a:pt x="1060" y="295"/>
                  </a:lnTo>
                  <a:lnTo>
                    <a:pt x="1066" y="289"/>
                  </a:lnTo>
                  <a:lnTo>
                    <a:pt x="1071" y="289"/>
                  </a:lnTo>
                  <a:lnTo>
                    <a:pt x="1077" y="289"/>
                  </a:lnTo>
                  <a:lnTo>
                    <a:pt x="1083" y="289"/>
                  </a:lnTo>
                  <a:lnTo>
                    <a:pt x="1083" y="283"/>
                  </a:lnTo>
                  <a:lnTo>
                    <a:pt x="1088" y="283"/>
                  </a:lnTo>
                  <a:lnTo>
                    <a:pt x="1100" y="283"/>
                  </a:lnTo>
                  <a:lnTo>
                    <a:pt x="1100" y="278"/>
                  </a:lnTo>
                  <a:lnTo>
                    <a:pt x="1111" y="278"/>
                  </a:lnTo>
                  <a:lnTo>
                    <a:pt x="1128" y="278"/>
                  </a:lnTo>
                  <a:lnTo>
                    <a:pt x="1128" y="272"/>
                  </a:lnTo>
                  <a:lnTo>
                    <a:pt x="1122" y="266"/>
                  </a:lnTo>
                  <a:lnTo>
                    <a:pt x="1117" y="266"/>
                  </a:lnTo>
                  <a:lnTo>
                    <a:pt x="1117" y="261"/>
                  </a:lnTo>
                  <a:lnTo>
                    <a:pt x="1122" y="261"/>
                  </a:lnTo>
                  <a:lnTo>
                    <a:pt x="1128" y="261"/>
                  </a:lnTo>
                  <a:lnTo>
                    <a:pt x="1128" y="255"/>
                  </a:lnTo>
                  <a:lnTo>
                    <a:pt x="1134" y="255"/>
                  </a:lnTo>
                  <a:lnTo>
                    <a:pt x="1145" y="255"/>
                  </a:lnTo>
                  <a:lnTo>
                    <a:pt x="1151" y="261"/>
                  </a:lnTo>
                  <a:lnTo>
                    <a:pt x="1156" y="261"/>
                  </a:lnTo>
                  <a:lnTo>
                    <a:pt x="1162" y="261"/>
                  </a:lnTo>
                  <a:lnTo>
                    <a:pt x="1162" y="266"/>
                  </a:lnTo>
                  <a:lnTo>
                    <a:pt x="1168" y="272"/>
                  </a:lnTo>
                  <a:lnTo>
                    <a:pt x="1168" y="278"/>
                  </a:lnTo>
                  <a:lnTo>
                    <a:pt x="1162" y="278"/>
                  </a:lnTo>
                  <a:lnTo>
                    <a:pt x="1162" y="283"/>
                  </a:lnTo>
                  <a:lnTo>
                    <a:pt x="1162" y="289"/>
                  </a:lnTo>
                  <a:lnTo>
                    <a:pt x="1162" y="295"/>
                  </a:lnTo>
                  <a:lnTo>
                    <a:pt x="1168" y="295"/>
                  </a:lnTo>
                  <a:lnTo>
                    <a:pt x="1173" y="295"/>
                  </a:lnTo>
                  <a:lnTo>
                    <a:pt x="1185" y="295"/>
                  </a:lnTo>
                  <a:lnTo>
                    <a:pt x="1190" y="295"/>
                  </a:lnTo>
                  <a:lnTo>
                    <a:pt x="1190" y="300"/>
                  </a:lnTo>
                  <a:lnTo>
                    <a:pt x="1196" y="306"/>
                  </a:lnTo>
                  <a:lnTo>
                    <a:pt x="1202" y="306"/>
                  </a:lnTo>
                  <a:lnTo>
                    <a:pt x="1202" y="317"/>
                  </a:lnTo>
                  <a:lnTo>
                    <a:pt x="1202" y="323"/>
                  </a:lnTo>
                  <a:lnTo>
                    <a:pt x="1202" y="329"/>
                  </a:lnTo>
                  <a:lnTo>
                    <a:pt x="1196" y="334"/>
                  </a:lnTo>
                  <a:lnTo>
                    <a:pt x="1196" y="340"/>
                  </a:lnTo>
                  <a:lnTo>
                    <a:pt x="1190" y="346"/>
                  </a:lnTo>
                  <a:lnTo>
                    <a:pt x="1190" y="352"/>
                  </a:lnTo>
                  <a:lnTo>
                    <a:pt x="1196" y="352"/>
                  </a:lnTo>
                  <a:lnTo>
                    <a:pt x="1202" y="357"/>
                  </a:lnTo>
                  <a:lnTo>
                    <a:pt x="1207" y="357"/>
                  </a:lnTo>
                  <a:lnTo>
                    <a:pt x="1213" y="357"/>
                  </a:lnTo>
                  <a:lnTo>
                    <a:pt x="1219" y="357"/>
                  </a:lnTo>
                  <a:lnTo>
                    <a:pt x="1224" y="357"/>
                  </a:lnTo>
                  <a:lnTo>
                    <a:pt x="1230" y="363"/>
                  </a:lnTo>
                  <a:lnTo>
                    <a:pt x="1236" y="369"/>
                  </a:lnTo>
                  <a:lnTo>
                    <a:pt x="1236" y="374"/>
                  </a:lnTo>
                  <a:lnTo>
                    <a:pt x="1241" y="374"/>
                  </a:lnTo>
                  <a:lnTo>
                    <a:pt x="1241" y="380"/>
                  </a:lnTo>
                  <a:lnTo>
                    <a:pt x="1236" y="386"/>
                  </a:lnTo>
                  <a:lnTo>
                    <a:pt x="1236" y="391"/>
                  </a:lnTo>
                  <a:lnTo>
                    <a:pt x="1230" y="391"/>
                  </a:lnTo>
                  <a:lnTo>
                    <a:pt x="1230" y="397"/>
                  </a:lnTo>
                  <a:lnTo>
                    <a:pt x="1224" y="397"/>
                  </a:lnTo>
                  <a:lnTo>
                    <a:pt x="1219" y="403"/>
                  </a:lnTo>
                  <a:lnTo>
                    <a:pt x="1213" y="408"/>
                  </a:lnTo>
                  <a:lnTo>
                    <a:pt x="1213" y="414"/>
                  </a:lnTo>
                  <a:lnTo>
                    <a:pt x="1207" y="414"/>
                  </a:lnTo>
                  <a:lnTo>
                    <a:pt x="1202" y="414"/>
                  </a:lnTo>
                  <a:lnTo>
                    <a:pt x="1202" y="420"/>
                  </a:lnTo>
                  <a:lnTo>
                    <a:pt x="1196" y="420"/>
                  </a:lnTo>
                  <a:lnTo>
                    <a:pt x="1196" y="425"/>
                  </a:lnTo>
                  <a:lnTo>
                    <a:pt x="1190" y="431"/>
                  </a:lnTo>
                  <a:lnTo>
                    <a:pt x="1185" y="431"/>
                  </a:lnTo>
                  <a:lnTo>
                    <a:pt x="1185" y="437"/>
                  </a:lnTo>
                  <a:lnTo>
                    <a:pt x="1185" y="442"/>
                  </a:lnTo>
                  <a:lnTo>
                    <a:pt x="1185" y="448"/>
                  </a:lnTo>
                  <a:lnTo>
                    <a:pt x="1190" y="448"/>
                  </a:lnTo>
                  <a:lnTo>
                    <a:pt x="1190" y="454"/>
                  </a:lnTo>
                  <a:lnTo>
                    <a:pt x="1202" y="459"/>
                  </a:lnTo>
                  <a:lnTo>
                    <a:pt x="1207" y="465"/>
                  </a:lnTo>
                  <a:lnTo>
                    <a:pt x="1213" y="471"/>
                  </a:lnTo>
                  <a:lnTo>
                    <a:pt x="1219" y="471"/>
                  </a:lnTo>
                  <a:lnTo>
                    <a:pt x="1224" y="471"/>
                  </a:lnTo>
                  <a:lnTo>
                    <a:pt x="1230" y="471"/>
                  </a:lnTo>
                  <a:lnTo>
                    <a:pt x="1241" y="471"/>
                  </a:lnTo>
                  <a:lnTo>
                    <a:pt x="1247" y="471"/>
                  </a:lnTo>
                  <a:lnTo>
                    <a:pt x="1258" y="476"/>
                  </a:lnTo>
                  <a:lnTo>
                    <a:pt x="1270" y="476"/>
                  </a:lnTo>
                  <a:lnTo>
                    <a:pt x="1275" y="476"/>
                  </a:lnTo>
                  <a:lnTo>
                    <a:pt x="1281" y="476"/>
                  </a:lnTo>
                  <a:lnTo>
                    <a:pt x="1287" y="476"/>
                  </a:lnTo>
                  <a:lnTo>
                    <a:pt x="1298" y="471"/>
                  </a:lnTo>
                  <a:lnTo>
                    <a:pt x="1304" y="471"/>
                  </a:lnTo>
                  <a:lnTo>
                    <a:pt x="1309" y="471"/>
                  </a:lnTo>
                  <a:lnTo>
                    <a:pt x="1315" y="476"/>
                  </a:lnTo>
                  <a:lnTo>
                    <a:pt x="1321" y="476"/>
                  </a:lnTo>
                  <a:lnTo>
                    <a:pt x="1321" y="482"/>
                  </a:lnTo>
                  <a:lnTo>
                    <a:pt x="1326" y="482"/>
                  </a:lnTo>
                  <a:lnTo>
                    <a:pt x="1326" y="488"/>
                  </a:lnTo>
                  <a:lnTo>
                    <a:pt x="1326" y="493"/>
                  </a:lnTo>
                  <a:lnTo>
                    <a:pt x="1321" y="505"/>
                  </a:lnTo>
                  <a:lnTo>
                    <a:pt x="1321" y="510"/>
                  </a:lnTo>
                  <a:lnTo>
                    <a:pt x="1326" y="516"/>
                  </a:lnTo>
                  <a:lnTo>
                    <a:pt x="1326" y="527"/>
                  </a:lnTo>
                  <a:lnTo>
                    <a:pt x="1326" y="539"/>
                  </a:lnTo>
                  <a:lnTo>
                    <a:pt x="1326" y="544"/>
                  </a:lnTo>
                  <a:lnTo>
                    <a:pt x="1326" y="550"/>
                  </a:lnTo>
                  <a:lnTo>
                    <a:pt x="1326" y="556"/>
                  </a:lnTo>
                  <a:lnTo>
                    <a:pt x="1321" y="556"/>
                  </a:lnTo>
                  <a:lnTo>
                    <a:pt x="1315" y="561"/>
                  </a:lnTo>
                  <a:lnTo>
                    <a:pt x="1309" y="567"/>
                  </a:lnTo>
                  <a:lnTo>
                    <a:pt x="1304" y="567"/>
                  </a:lnTo>
                  <a:lnTo>
                    <a:pt x="1298" y="567"/>
                  </a:lnTo>
                  <a:lnTo>
                    <a:pt x="1298" y="573"/>
                  </a:lnTo>
                  <a:lnTo>
                    <a:pt x="1298" y="578"/>
                  </a:lnTo>
                  <a:lnTo>
                    <a:pt x="1304" y="584"/>
                  </a:lnTo>
                  <a:lnTo>
                    <a:pt x="1309" y="584"/>
                  </a:lnTo>
                  <a:lnTo>
                    <a:pt x="1315" y="584"/>
                  </a:lnTo>
                  <a:lnTo>
                    <a:pt x="1321" y="584"/>
                  </a:lnTo>
                  <a:lnTo>
                    <a:pt x="1326" y="584"/>
                  </a:lnTo>
                  <a:lnTo>
                    <a:pt x="1326" y="590"/>
                  </a:lnTo>
                  <a:lnTo>
                    <a:pt x="1321" y="590"/>
                  </a:lnTo>
                  <a:lnTo>
                    <a:pt x="1321" y="595"/>
                  </a:lnTo>
                  <a:lnTo>
                    <a:pt x="1315" y="595"/>
                  </a:lnTo>
                  <a:lnTo>
                    <a:pt x="1315" y="601"/>
                  </a:lnTo>
                  <a:lnTo>
                    <a:pt x="1321" y="607"/>
                  </a:lnTo>
                  <a:lnTo>
                    <a:pt x="1326" y="607"/>
                  </a:lnTo>
                  <a:lnTo>
                    <a:pt x="1326" y="612"/>
                  </a:lnTo>
                  <a:lnTo>
                    <a:pt x="1332" y="612"/>
                  </a:lnTo>
                  <a:lnTo>
                    <a:pt x="1338" y="612"/>
                  </a:lnTo>
                  <a:lnTo>
                    <a:pt x="1338" y="618"/>
                  </a:lnTo>
                  <a:lnTo>
                    <a:pt x="1343" y="618"/>
                  </a:lnTo>
                  <a:lnTo>
                    <a:pt x="1343" y="624"/>
                  </a:lnTo>
                  <a:lnTo>
                    <a:pt x="1338" y="624"/>
                  </a:lnTo>
                  <a:lnTo>
                    <a:pt x="1332" y="624"/>
                  </a:lnTo>
                  <a:lnTo>
                    <a:pt x="1332" y="629"/>
                  </a:lnTo>
                  <a:lnTo>
                    <a:pt x="1326" y="635"/>
                  </a:lnTo>
                  <a:lnTo>
                    <a:pt x="1326" y="641"/>
                  </a:lnTo>
                  <a:lnTo>
                    <a:pt x="1326" y="646"/>
                  </a:lnTo>
                  <a:lnTo>
                    <a:pt x="1321" y="652"/>
                  </a:lnTo>
                  <a:lnTo>
                    <a:pt x="1315" y="652"/>
                  </a:lnTo>
                  <a:lnTo>
                    <a:pt x="1315" y="658"/>
                  </a:lnTo>
                  <a:lnTo>
                    <a:pt x="1309" y="658"/>
                  </a:lnTo>
                  <a:lnTo>
                    <a:pt x="1304" y="663"/>
                  </a:lnTo>
                  <a:lnTo>
                    <a:pt x="1304" y="669"/>
                  </a:lnTo>
                  <a:lnTo>
                    <a:pt x="1298" y="669"/>
                  </a:lnTo>
                  <a:lnTo>
                    <a:pt x="1298" y="675"/>
                  </a:lnTo>
                  <a:lnTo>
                    <a:pt x="1298" y="680"/>
                  </a:lnTo>
                  <a:lnTo>
                    <a:pt x="1298" y="686"/>
                  </a:lnTo>
                  <a:lnTo>
                    <a:pt x="1298" y="692"/>
                  </a:lnTo>
                  <a:lnTo>
                    <a:pt x="1298" y="697"/>
                  </a:lnTo>
                  <a:lnTo>
                    <a:pt x="1304" y="697"/>
                  </a:lnTo>
                  <a:lnTo>
                    <a:pt x="1315" y="697"/>
                  </a:lnTo>
                  <a:lnTo>
                    <a:pt x="1321" y="697"/>
                  </a:lnTo>
                  <a:lnTo>
                    <a:pt x="1321" y="703"/>
                  </a:lnTo>
                  <a:lnTo>
                    <a:pt x="1321" y="709"/>
                  </a:lnTo>
                  <a:lnTo>
                    <a:pt x="1315" y="714"/>
                  </a:lnTo>
                  <a:lnTo>
                    <a:pt x="1315" y="720"/>
                  </a:lnTo>
                  <a:lnTo>
                    <a:pt x="1309" y="720"/>
                  </a:lnTo>
                  <a:lnTo>
                    <a:pt x="1315" y="726"/>
                  </a:lnTo>
                  <a:lnTo>
                    <a:pt x="1321" y="726"/>
                  </a:lnTo>
                  <a:lnTo>
                    <a:pt x="1326" y="726"/>
                  </a:lnTo>
                  <a:lnTo>
                    <a:pt x="1332" y="726"/>
                  </a:lnTo>
                  <a:lnTo>
                    <a:pt x="1338" y="720"/>
                  </a:lnTo>
                  <a:lnTo>
                    <a:pt x="1343" y="720"/>
                  </a:lnTo>
                  <a:lnTo>
                    <a:pt x="1349" y="720"/>
                  </a:lnTo>
                  <a:lnTo>
                    <a:pt x="1355" y="720"/>
                  </a:lnTo>
                  <a:lnTo>
                    <a:pt x="1366" y="720"/>
                  </a:lnTo>
                  <a:lnTo>
                    <a:pt x="1361" y="726"/>
                  </a:lnTo>
                  <a:lnTo>
                    <a:pt x="1355" y="731"/>
                  </a:lnTo>
                  <a:lnTo>
                    <a:pt x="1292" y="811"/>
                  </a:lnTo>
                  <a:lnTo>
                    <a:pt x="1287" y="805"/>
                  </a:lnTo>
                  <a:lnTo>
                    <a:pt x="1270" y="794"/>
                  </a:lnTo>
                  <a:lnTo>
                    <a:pt x="1230" y="760"/>
                  </a:lnTo>
                  <a:lnTo>
                    <a:pt x="1224" y="760"/>
                  </a:lnTo>
                  <a:lnTo>
                    <a:pt x="1207" y="760"/>
                  </a:lnTo>
                  <a:lnTo>
                    <a:pt x="1173" y="754"/>
                  </a:lnTo>
                  <a:lnTo>
                    <a:pt x="1151" y="760"/>
                  </a:lnTo>
                  <a:lnTo>
                    <a:pt x="1151" y="782"/>
                  </a:lnTo>
                  <a:lnTo>
                    <a:pt x="1145" y="879"/>
                  </a:lnTo>
                  <a:lnTo>
                    <a:pt x="1139" y="1043"/>
                  </a:lnTo>
                  <a:lnTo>
                    <a:pt x="1162" y="1043"/>
                  </a:lnTo>
                  <a:lnTo>
                    <a:pt x="1162" y="1049"/>
                  </a:lnTo>
                  <a:lnTo>
                    <a:pt x="1162" y="1054"/>
                  </a:lnTo>
                  <a:lnTo>
                    <a:pt x="1162" y="1060"/>
                  </a:lnTo>
                  <a:lnTo>
                    <a:pt x="1156" y="1060"/>
                  </a:lnTo>
                  <a:lnTo>
                    <a:pt x="1156" y="1066"/>
                  </a:lnTo>
                  <a:lnTo>
                    <a:pt x="1156" y="1071"/>
                  </a:lnTo>
                  <a:lnTo>
                    <a:pt x="1151" y="1071"/>
                  </a:lnTo>
                  <a:lnTo>
                    <a:pt x="1145" y="1071"/>
                  </a:lnTo>
                  <a:lnTo>
                    <a:pt x="1145" y="1077"/>
                  </a:lnTo>
                  <a:lnTo>
                    <a:pt x="1145" y="1083"/>
                  </a:lnTo>
                  <a:lnTo>
                    <a:pt x="1139" y="1088"/>
                  </a:lnTo>
                  <a:lnTo>
                    <a:pt x="1134" y="1100"/>
                  </a:lnTo>
                  <a:lnTo>
                    <a:pt x="1128" y="1105"/>
                  </a:lnTo>
                  <a:lnTo>
                    <a:pt x="1128" y="1111"/>
                  </a:lnTo>
                  <a:lnTo>
                    <a:pt x="1122" y="1117"/>
                  </a:lnTo>
                  <a:lnTo>
                    <a:pt x="1117" y="1117"/>
                  </a:lnTo>
                  <a:lnTo>
                    <a:pt x="1111" y="1117"/>
                  </a:lnTo>
                  <a:lnTo>
                    <a:pt x="1105" y="1111"/>
                  </a:lnTo>
                  <a:lnTo>
                    <a:pt x="1100" y="1111"/>
                  </a:lnTo>
                  <a:lnTo>
                    <a:pt x="1100" y="1105"/>
                  </a:lnTo>
                  <a:lnTo>
                    <a:pt x="1100" y="1100"/>
                  </a:lnTo>
                  <a:lnTo>
                    <a:pt x="1094" y="1094"/>
                  </a:lnTo>
                  <a:lnTo>
                    <a:pt x="1088" y="1088"/>
                  </a:lnTo>
                  <a:lnTo>
                    <a:pt x="1083" y="1083"/>
                  </a:lnTo>
                  <a:lnTo>
                    <a:pt x="1077" y="1083"/>
                  </a:lnTo>
                  <a:lnTo>
                    <a:pt x="1077" y="1077"/>
                  </a:lnTo>
                  <a:lnTo>
                    <a:pt x="1071" y="1077"/>
                  </a:lnTo>
                  <a:lnTo>
                    <a:pt x="1071" y="1071"/>
                  </a:lnTo>
                  <a:lnTo>
                    <a:pt x="1066" y="1071"/>
                  </a:lnTo>
                  <a:lnTo>
                    <a:pt x="1060" y="1066"/>
                  </a:lnTo>
                  <a:lnTo>
                    <a:pt x="1054" y="1066"/>
                  </a:lnTo>
                  <a:lnTo>
                    <a:pt x="1054" y="1060"/>
                  </a:lnTo>
                  <a:lnTo>
                    <a:pt x="1049" y="1060"/>
                  </a:lnTo>
                  <a:lnTo>
                    <a:pt x="1043" y="1054"/>
                  </a:lnTo>
                  <a:lnTo>
                    <a:pt x="1037" y="1054"/>
                  </a:lnTo>
                  <a:lnTo>
                    <a:pt x="1037" y="1049"/>
                  </a:lnTo>
                  <a:lnTo>
                    <a:pt x="1032" y="1043"/>
                  </a:lnTo>
                  <a:lnTo>
                    <a:pt x="1026" y="1043"/>
                  </a:lnTo>
                  <a:lnTo>
                    <a:pt x="1026" y="1037"/>
                  </a:lnTo>
                  <a:lnTo>
                    <a:pt x="1020" y="1032"/>
                  </a:lnTo>
                  <a:lnTo>
                    <a:pt x="1020" y="1020"/>
                  </a:lnTo>
                  <a:lnTo>
                    <a:pt x="1020" y="1015"/>
                  </a:lnTo>
                  <a:lnTo>
                    <a:pt x="1015" y="1009"/>
                  </a:lnTo>
                  <a:lnTo>
                    <a:pt x="1015" y="1003"/>
                  </a:lnTo>
                  <a:lnTo>
                    <a:pt x="1009" y="1003"/>
                  </a:lnTo>
                  <a:lnTo>
                    <a:pt x="1009" y="998"/>
                  </a:lnTo>
                  <a:lnTo>
                    <a:pt x="1009" y="992"/>
                  </a:lnTo>
                  <a:lnTo>
                    <a:pt x="1009" y="986"/>
                  </a:lnTo>
                  <a:lnTo>
                    <a:pt x="1003" y="981"/>
                  </a:lnTo>
                  <a:lnTo>
                    <a:pt x="1003" y="975"/>
                  </a:lnTo>
                  <a:lnTo>
                    <a:pt x="1003" y="969"/>
                  </a:lnTo>
                  <a:lnTo>
                    <a:pt x="1003" y="964"/>
                  </a:lnTo>
                  <a:lnTo>
                    <a:pt x="998" y="964"/>
                  </a:lnTo>
                  <a:lnTo>
                    <a:pt x="998" y="958"/>
                  </a:lnTo>
                  <a:lnTo>
                    <a:pt x="992" y="958"/>
                  </a:lnTo>
                  <a:lnTo>
                    <a:pt x="992" y="952"/>
                  </a:lnTo>
                  <a:lnTo>
                    <a:pt x="986" y="952"/>
                  </a:lnTo>
                  <a:lnTo>
                    <a:pt x="981" y="947"/>
                  </a:lnTo>
                  <a:lnTo>
                    <a:pt x="975" y="941"/>
                  </a:lnTo>
                  <a:lnTo>
                    <a:pt x="964" y="935"/>
                  </a:lnTo>
                  <a:lnTo>
                    <a:pt x="958" y="935"/>
                  </a:lnTo>
                  <a:lnTo>
                    <a:pt x="952" y="935"/>
                  </a:lnTo>
                  <a:lnTo>
                    <a:pt x="947" y="935"/>
                  </a:lnTo>
                  <a:lnTo>
                    <a:pt x="935" y="941"/>
                  </a:lnTo>
                  <a:lnTo>
                    <a:pt x="935" y="935"/>
                  </a:lnTo>
                  <a:lnTo>
                    <a:pt x="935" y="941"/>
                  </a:lnTo>
                  <a:lnTo>
                    <a:pt x="930" y="941"/>
                  </a:lnTo>
                  <a:lnTo>
                    <a:pt x="924" y="941"/>
                  </a:lnTo>
                  <a:lnTo>
                    <a:pt x="918" y="935"/>
                  </a:lnTo>
                  <a:lnTo>
                    <a:pt x="913" y="935"/>
                  </a:lnTo>
                  <a:lnTo>
                    <a:pt x="907" y="935"/>
                  </a:lnTo>
                  <a:lnTo>
                    <a:pt x="907" y="930"/>
                  </a:lnTo>
                  <a:lnTo>
                    <a:pt x="901" y="930"/>
                  </a:lnTo>
                  <a:lnTo>
                    <a:pt x="896" y="930"/>
                  </a:lnTo>
                  <a:lnTo>
                    <a:pt x="890" y="924"/>
                  </a:lnTo>
                  <a:lnTo>
                    <a:pt x="884" y="924"/>
                  </a:lnTo>
                  <a:lnTo>
                    <a:pt x="879" y="930"/>
                  </a:lnTo>
                  <a:lnTo>
                    <a:pt x="867" y="930"/>
                  </a:lnTo>
                  <a:lnTo>
                    <a:pt x="862" y="930"/>
                  </a:lnTo>
                  <a:lnTo>
                    <a:pt x="850" y="935"/>
                  </a:lnTo>
                  <a:lnTo>
                    <a:pt x="845" y="935"/>
                  </a:lnTo>
                  <a:lnTo>
                    <a:pt x="839" y="930"/>
                  </a:lnTo>
                  <a:lnTo>
                    <a:pt x="822" y="930"/>
                  </a:lnTo>
                  <a:lnTo>
                    <a:pt x="822" y="935"/>
                  </a:lnTo>
                  <a:lnTo>
                    <a:pt x="799" y="935"/>
                  </a:lnTo>
                  <a:lnTo>
                    <a:pt x="794" y="930"/>
                  </a:lnTo>
                  <a:lnTo>
                    <a:pt x="782" y="930"/>
                  </a:lnTo>
                  <a:lnTo>
                    <a:pt x="777" y="930"/>
                  </a:lnTo>
                  <a:lnTo>
                    <a:pt x="777" y="924"/>
                  </a:lnTo>
                  <a:lnTo>
                    <a:pt x="777" y="918"/>
                  </a:lnTo>
                  <a:lnTo>
                    <a:pt x="771" y="918"/>
                  </a:lnTo>
                  <a:lnTo>
                    <a:pt x="771" y="913"/>
                  </a:lnTo>
                  <a:lnTo>
                    <a:pt x="765" y="913"/>
                  </a:lnTo>
                  <a:lnTo>
                    <a:pt x="765" y="907"/>
                  </a:lnTo>
                  <a:lnTo>
                    <a:pt x="754" y="901"/>
                  </a:lnTo>
                  <a:lnTo>
                    <a:pt x="748" y="901"/>
                  </a:lnTo>
                  <a:lnTo>
                    <a:pt x="737" y="901"/>
                  </a:lnTo>
                  <a:lnTo>
                    <a:pt x="731" y="896"/>
                  </a:lnTo>
                  <a:lnTo>
                    <a:pt x="726" y="896"/>
                  </a:lnTo>
                  <a:lnTo>
                    <a:pt x="726" y="890"/>
                  </a:lnTo>
                  <a:lnTo>
                    <a:pt x="720" y="890"/>
                  </a:lnTo>
                  <a:lnTo>
                    <a:pt x="714" y="884"/>
                  </a:lnTo>
                  <a:lnTo>
                    <a:pt x="709" y="879"/>
                  </a:lnTo>
                  <a:lnTo>
                    <a:pt x="692" y="867"/>
                  </a:lnTo>
                  <a:lnTo>
                    <a:pt x="686" y="867"/>
                  </a:lnTo>
                  <a:lnTo>
                    <a:pt x="680" y="862"/>
                  </a:lnTo>
                  <a:lnTo>
                    <a:pt x="675" y="856"/>
                  </a:lnTo>
                  <a:lnTo>
                    <a:pt x="669" y="856"/>
                  </a:lnTo>
                  <a:lnTo>
                    <a:pt x="663" y="850"/>
                  </a:lnTo>
                  <a:lnTo>
                    <a:pt x="658" y="850"/>
                  </a:lnTo>
                  <a:lnTo>
                    <a:pt x="652" y="845"/>
                  </a:lnTo>
                  <a:lnTo>
                    <a:pt x="635" y="845"/>
                  </a:lnTo>
                  <a:lnTo>
                    <a:pt x="624" y="839"/>
                  </a:lnTo>
                  <a:lnTo>
                    <a:pt x="618" y="839"/>
                  </a:lnTo>
                  <a:lnTo>
                    <a:pt x="601" y="833"/>
                  </a:lnTo>
                  <a:lnTo>
                    <a:pt x="595" y="833"/>
                  </a:lnTo>
                  <a:lnTo>
                    <a:pt x="590" y="833"/>
                  </a:lnTo>
                  <a:lnTo>
                    <a:pt x="584" y="833"/>
                  </a:lnTo>
                  <a:lnTo>
                    <a:pt x="578" y="828"/>
                  </a:lnTo>
                  <a:lnTo>
                    <a:pt x="573" y="822"/>
                  </a:lnTo>
                  <a:lnTo>
                    <a:pt x="567" y="816"/>
                  </a:lnTo>
                  <a:lnTo>
                    <a:pt x="567" y="811"/>
                  </a:lnTo>
                  <a:lnTo>
                    <a:pt x="567" y="805"/>
                  </a:lnTo>
                  <a:lnTo>
                    <a:pt x="561" y="805"/>
                  </a:lnTo>
                  <a:lnTo>
                    <a:pt x="556" y="805"/>
                  </a:lnTo>
                  <a:lnTo>
                    <a:pt x="556" y="799"/>
                  </a:lnTo>
                  <a:lnTo>
                    <a:pt x="550" y="794"/>
                  </a:lnTo>
                  <a:lnTo>
                    <a:pt x="544" y="794"/>
                  </a:lnTo>
                  <a:lnTo>
                    <a:pt x="539" y="794"/>
                  </a:lnTo>
                  <a:lnTo>
                    <a:pt x="539" y="788"/>
                  </a:lnTo>
                  <a:lnTo>
                    <a:pt x="539" y="782"/>
                  </a:lnTo>
                  <a:lnTo>
                    <a:pt x="533" y="782"/>
                  </a:lnTo>
                  <a:lnTo>
                    <a:pt x="527" y="777"/>
                  </a:lnTo>
                  <a:lnTo>
                    <a:pt x="522" y="777"/>
                  </a:lnTo>
                  <a:lnTo>
                    <a:pt x="516" y="771"/>
                  </a:lnTo>
                  <a:lnTo>
                    <a:pt x="510" y="765"/>
                  </a:lnTo>
                  <a:lnTo>
                    <a:pt x="499" y="765"/>
                  </a:lnTo>
                  <a:lnTo>
                    <a:pt x="488" y="765"/>
                  </a:lnTo>
                  <a:lnTo>
                    <a:pt x="488" y="771"/>
                  </a:lnTo>
                  <a:lnTo>
                    <a:pt x="482" y="771"/>
                  </a:lnTo>
                  <a:lnTo>
                    <a:pt x="482" y="777"/>
                  </a:lnTo>
                  <a:lnTo>
                    <a:pt x="476" y="777"/>
                  </a:lnTo>
                  <a:lnTo>
                    <a:pt x="471" y="777"/>
                  </a:lnTo>
                  <a:lnTo>
                    <a:pt x="465" y="777"/>
                  </a:lnTo>
                  <a:lnTo>
                    <a:pt x="442" y="788"/>
                  </a:lnTo>
                  <a:lnTo>
                    <a:pt x="436" y="788"/>
                  </a:lnTo>
                  <a:lnTo>
                    <a:pt x="431" y="788"/>
                  </a:lnTo>
                  <a:lnTo>
                    <a:pt x="425" y="782"/>
                  </a:lnTo>
                  <a:lnTo>
                    <a:pt x="425" y="777"/>
                  </a:lnTo>
                  <a:lnTo>
                    <a:pt x="419" y="777"/>
                  </a:lnTo>
                  <a:lnTo>
                    <a:pt x="419" y="771"/>
                  </a:lnTo>
                  <a:lnTo>
                    <a:pt x="419" y="765"/>
                  </a:lnTo>
                  <a:lnTo>
                    <a:pt x="414" y="754"/>
                  </a:lnTo>
                  <a:lnTo>
                    <a:pt x="414" y="748"/>
                  </a:lnTo>
                  <a:lnTo>
                    <a:pt x="414" y="743"/>
                  </a:lnTo>
                  <a:lnTo>
                    <a:pt x="408" y="737"/>
                  </a:lnTo>
                  <a:lnTo>
                    <a:pt x="402" y="737"/>
                  </a:lnTo>
                  <a:lnTo>
                    <a:pt x="397" y="737"/>
                  </a:lnTo>
                  <a:lnTo>
                    <a:pt x="391" y="731"/>
                  </a:lnTo>
                  <a:lnTo>
                    <a:pt x="385" y="731"/>
                  </a:lnTo>
                  <a:lnTo>
                    <a:pt x="385" y="726"/>
                  </a:lnTo>
                  <a:lnTo>
                    <a:pt x="380" y="726"/>
                  </a:lnTo>
                  <a:lnTo>
                    <a:pt x="374" y="726"/>
                  </a:lnTo>
                  <a:lnTo>
                    <a:pt x="368" y="726"/>
                  </a:lnTo>
                  <a:lnTo>
                    <a:pt x="368" y="720"/>
                  </a:lnTo>
                  <a:lnTo>
                    <a:pt x="357" y="714"/>
                  </a:lnTo>
                  <a:lnTo>
                    <a:pt x="351" y="709"/>
                  </a:lnTo>
                  <a:lnTo>
                    <a:pt x="346" y="709"/>
                  </a:lnTo>
                  <a:lnTo>
                    <a:pt x="340" y="697"/>
                  </a:lnTo>
                  <a:lnTo>
                    <a:pt x="334" y="692"/>
                  </a:lnTo>
                  <a:lnTo>
                    <a:pt x="329" y="686"/>
                  </a:lnTo>
                  <a:lnTo>
                    <a:pt x="329" y="680"/>
                  </a:lnTo>
                  <a:lnTo>
                    <a:pt x="323" y="680"/>
                  </a:lnTo>
                  <a:lnTo>
                    <a:pt x="317" y="680"/>
                  </a:lnTo>
                  <a:lnTo>
                    <a:pt x="317" y="675"/>
                  </a:lnTo>
                  <a:lnTo>
                    <a:pt x="312" y="669"/>
                  </a:lnTo>
                  <a:lnTo>
                    <a:pt x="312" y="663"/>
                  </a:lnTo>
                  <a:lnTo>
                    <a:pt x="306" y="658"/>
                  </a:lnTo>
                  <a:lnTo>
                    <a:pt x="300" y="658"/>
                  </a:lnTo>
                  <a:lnTo>
                    <a:pt x="289" y="641"/>
                  </a:lnTo>
                  <a:lnTo>
                    <a:pt x="283" y="641"/>
                  </a:lnTo>
                  <a:lnTo>
                    <a:pt x="272" y="629"/>
                  </a:lnTo>
                  <a:lnTo>
                    <a:pt x="272" y="624"/>
                  </a:lnTo>
                  <a:lnTo>
                    <a:pt x="266" y="624"/>
                  </a:lnTo>
                  <a:lnTo>
                    <a:pt x="261" y="612"/>
                  </a:lnTo>
                  <a:lnTo>
                    <a:pt x="255" y="612"/>
                  </a:lnTo>
                  <a:lnTo>
                    <a:pt x="255" y="607"/>
                  </a:lnTo>
                  <a:lnTo>
                    <a:pt x="255" y="601"/>
                  </a:lnTo>
                  <a:lnTo>
                    <a:pt x="244" y="595"/>
                  </a:lnTo>
                  <a:lnTo>
                    <a:pt x="232" y="584"/>
                  </a:lnTo>
                  <a:lnTo>
                    <a:pt x="232" y="578"/>
                  </a:lnTo>
                  <a:lnTo>
                    <a:pt x="227" y="573"/>
                  </a:lnTo>
                  <a:lnTo>
                    <a:pt x="221" y="567"/>
                  </a:lnTo>
                  <a:lnTo>
                    <a:pt x="215" y="567"/>
                  </a:lnTo>
                  <a:lnTo>
                    <a:pt x="215" y="561"/>
                  </a:lnTo>
                  <a:lnTo>
                    <a:pt x="215" y="556"/>
                  </a:lnTo>
                  <a:lnTo>
                    <a:pt x="210" y="556"/>
                  </a:lnTo>
                  <a:lnTo>
                    <a:pt x="210" y="550"/>
                  </a:lnTo>
                  <a:lnTo>
                    <a:pt x="204" y="544"/>
                  </a:lnTo>
                  <a:lnTo>
                    <a:pt x="204" y="539"/>
                  </a:lnTo>
                  <a:lnTo>
                    <a:pt x="198" y="539"/>
                  </a:lnTo>
                  <a:lnTo>
                    <a:pt x="193" y="539"/>
                  </a:lnTo>
                  <a:lnTo>
                    <a:pt x="193" y="533"/>
                  </a:lnTo>
                  <a:lnTo>
                    <a:pt x="193" y="527"/>
                  </a:lnTo>
                  <a:lnTo>
                    <a:pt x="187" y="527"/>
                  </a:lnTo>
                  <a:lnTo>
                    <a:pt x="187" y="533"/>
                  </a:lnTo>
                  <a:lnTo>
                    <a:pt x="181" y="539"/>
                  </a:lnTo>
                  <a:lnTo>
                    <a:pt x="181" y="544"/>
                  </a:lnTo>
                  <a:lnTo>
                    <a:pt x="176" y="544"/>
                  </a:lnTo>
                  <a:lnTo>
                    <a:pt x="170" y="539"/>
                  </a:lnTo>
                  <a:lnTo>
                    <a:pt x="164" y="539"/>
                  </a:lnTo>
                  <a:lnTo>
                    <a:pt x="159" y="539"/>
                  </a:lnTo>
                  <a:lnTo>
                    <a:pt x="159" y="527"/>
                  </a:lnTo>
                  <a:lnTo>
                    <a:pt x="153" y="527"/>
                  </a:lnTo>
                  <a:lnTo>
                    <a:pt x="147" y="527"/>
                  </a:lnTo>
                  <a:lnTo>
                    <a:pt x="142" y="527"/>
                  </a:lnTo>
                  <a:lnTo>
                    <a:pt x="136" y="527"/>
                  </a:lnTo>
                  <a:lnTo>
                    <a:pt x="130" y="522"/>
                  </a:lnTo>
                  <a:lnTo>
                    <a:pt x="130" y="516"/>
                  </a:lnTo>
                  <a:lnTo>
                    <a:pt x="125" y="516"/>
                  </a:lnTo>
                  <a:lnTo>
                    <a:pt x="130" y="516"/>
                  </a:lnTo>
                  <a:lnTo>
                    <a:pt x="130" y="510"/>
                  </a:lnTo>
                  <a:lnTo>
                    <a:pt x="136" y="516"/>
                  </a:lnTo>
                  <a:lnTo>
                    <a:pt x="142" y="516"/>
                  </a:lnTo>
                  <a:lnTo>
                    <a:pt x="142" y="510"/>
                  </a:lnTo>
                  <a:lnTo>
                    <a:pt x="142" y="505"/>
                  </a:lnTo>
                  <a:lnTo>
                    <a:pt x="136" y="505"/>
                  </a:lnTo>
                  <a:lnTo>
                    <a:pt x="130" y="505"/>
                  </a:lnTo>
                  <a:lnTo>
                    <a:pt x="130" y="499"/>
                  </a:lnTo>
                  <a:lnTo>
                    <a:pt x="130" y="493"/>
                  </a:lnTo>
                  <a:lnTo>
                    <a:pt x="125" y="488"/>
                  </a:lnTo>
                  <a:lnTo>
                    <a:pt x="119" y="493"/>
                  </a:lnTo>
                  <a:lnTo>
                    <a:pt x="113" y="493"/>
                  </a:lnTo>
                  <a:lnTo>
                    <a:pt x="108" y="488"/>
                  </a:lnTo>
                  <a:lnTo>
                    <a:pt x="113" y="482"/>
                  </a:lnTo>
                  <a:lnTo>
                    <a:pt x="113" y="476"/>
                  </a:lnTo>
                  <a:lnTo>
                    <a:pt x="119" y="476"/>
                  </a:lnTo>
                  <a:lnTo>
                    <a:pt x="113" y="471"/>
                  </a:lnTo>
                  <a:lnTo>
                    <a:pt x="108" y="471"/>
                  </a:lnTo>
                  <a:lnTo>
                    <a:pt x="102" y="459"/>
                  </a:lnTo>
                  <a:lnTo>
                    <a:pt x="96" y="454"/>
                  </a:lnTo>
                  <a:lnTo>
                    <a:pt x="96" y="459"/>
                  </a:lnTo>
                  <a:lnTo>
                    <a:pt x="91" y="459"/>
                  </a:lnTo>
                  <a:lnTo>
                    <a:pt x="91" y="465"/>
                  </a:lnTo>
                  <a:lnTo>
                    <a:pt x="91" y="471"/>
                  </a:lnTo>
                  <a:lnTo>
                    <a:pt x="85" y="471"/>
                  </a:lnTo>
                  <a:lnTo>
                    <a:pt x="85" y="476"/>
                  </a:lnTo>
                  <a:lnTo>
                    <a:pt x="79" y="476"/>
                  </a:lnTo>
                  <a:lnTo>
                    <a:pt x="74" y="476"/>
                  </a:lnTo>
                  <a:lnTo>
                    <a:pt x="74" y="471"/>
                  </a:lnTo>
                  <a:lnTo>
                    <a:pt x="68" y="471"/>
                  </a:lnTo>
                  <a:lnTo>
                    <a:pt x="68" y="465"/>
                  </a:lnTo>
                  <a:lnTo>
                    <a:pt x="62" y="459"/>
                  </a:lnTo>
                  <a:lnTo>
                    <a:pt x="57" y="459"/>
                  </a:lnTo>
                  <a:lnTo>
                    <a:pt x="34" y="459"/>
                  </a:lnTo>
                  <a:lnTo>
                    <a:pt x="28" y="459"/>
                  </a:lnTo>
                  <a:lnTo>
                    <a:pt x="23" y="454"/>
                  </a:lnTo>
                  <a:lnTo>
                    <a:pt x="17" y="448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4" name="Freeform 13"/>
            <p:cNvSpPr>
              <a:spLocks/>
            </p:cNvSpPr>
            <p:nvPr/>
          </p:nvSpPr>
          <p:spPr bwMode="gray">
            <a:xfrm>
              <a:off x="181974" y="3457410"/>
              <a:ext cx="946274" cy="801646"/>
            </a:xfrm>
            <a:custGeom>
              <a:avLst/>
              <a:gdLst>
                <a:gd name="T0" fmla="*/ 2147483647 w 674"/>
                <a:gd name="T1" fmla="*/ 2147483647 h 601"/>
                <a:gd name="T2" fmla="*/ 2147483647 w 674"/>
                <a:gd name="T3" fmla="*/ 2147483647 h 601"/>
                <a:gd name="T4" fmla="*/ 2147483647 w 674"/>
                <a:gd name="T5" fmla="*/ 2147483647 h 601"/>
                <a:gd name="T6" fmla="*/ 2147483647 w 674"/>
                <a:gd name="T7" fmla="*/ 2147483647 h 601"/>
                <a:gd name="T8" fmla="*/ 2147483647 w 674"/>
                <a:gd name="T9" fmla="*/ 2147483647 h 601"/>
                <a:gd name="T10" fmla="*/ 2147483647 w 674"/>
                <a:gd name="T11" fmla="*/ 2147483647 h 601"/>
                <a:gd name="T12" fmla="*/ 2147483647 w 674"/>
                <a:gd name="T13" fmla="*/ 2147483647 h 601"/>
                <a:gd name="T14" fmla="*/ 2147483647 w 674"/>
                <a:gd name="T15" fmla="*/ 2147483647 h 601"/>
                <a:gd name="T16" fmla="*/ 2147483647 w 674"/>
                <a:gd name="T17" fmla="*/ 2147483647 h 601"/>
                <a:gd name="T18" fmla="*/ 2147483647 w 674"/>
                <a:gd name="T19" fmla="*/ 2147483647 h 601"/>
                <a:gd name="T20" fmla="*/ 2147483647 w 674"/>
                <a:gd name="T21" fmla="*/ 2147483647 h 601"/>
                <a:gd name="T22" fmla="*/ 2147483647 w 674"/>
                <a:gd name="T23" fmla="*/ 2147483647 h 601"/>
                <a:gd name="T24" fmla="*/ 2147483647 w 674"/>
                <a:gd name="T25" fmla="*/ 0 h 601"/>
                <a:gd name="T26" fmla="*/ 2147483647 w 674"/>
                <a:gd name="T27" fmla="*/ 2147483647 h 601"/>
                <a:gd name="T28" fmla="*/ 2147483647 w 674"/>
                <a:gd name="T29" fmla="*/ 2147483647 h 601"/>
                <a:gd name="T30" fmla="*/ 2147483647 w 674"/>
                <a:gd name="T31" fmla="*/ 2147483647 h 601"/>
                <a:gd name="T32" fmla="*/ 2147483647 w 674"/>
                <a:gd name="T33" fmla="*/ 2147483647 h 601"/>
                <a:gd name="T34" fmla="*/ 2147483647 w 674"/>
                <a:gd name="T35" fmla="*/ 2147483647 h 601"/>
                <a:gd name="T36" fmla="*/ 2147483647 w 674"/>
                <a:gd name="T37" fmla="*/ 2147483647 h 601"/>
                <a:gd name="T38" fmla="*/ 2147483647 w 674"/>
                <a:gd name="T39" fmla="*/ 2147483647 h 601"/>
                <a:gd name="T40" fmla="*/ 2147483647 w 674"/>
                <a:gd name="T41" fmla="*/ 2147483647 h 601"/>
                <a:gd name="T42" fmla="*/ 2147483647 w 674"/>
                <a:gd name="T43" fmla="*/ 2147483647 h 601"/>
                <a:gd name="T44" fmla="*/ 2147483647 w 674"/>
                <a:gd name="T45" fmla="*/ 2147483647 h 601"/>
                <a:gd name="T46" fmla="*/ 2147483647 w 674"/>
                <a:gd name="T47" fmla="*/ 2147483647 h 601"/>
                <a:gd name="T48" fmla="*/ 2147483647 w 674"/>
                <a:gd name="T49" fmla="*/ 2147483647 h 601"/>
                <a:gd name="T50" fmla="*/ 2147483647 w 674"/>
                <a:gd name="T51" fmla="*/ 2147483647 h 601"/>
                <a:gd name="T52" fmla="*/ 2147483647 w 674"/>
                <a:gd name="T53" fmla="*/ 2147483647 h 601"/>
                <a:gd name="T54" fmla="*/ 2147483647 w 674"/>
                <a:gd name="T55" fmla="*/ 2147483647 h 601"/>
                <a:gd name="T56" fmla="*/ 2147483647 w 674"/>
                <a:gd name="T57" fmla="*/ 2147483647 h 601"/>
                <a:gd name="T58" fmla="*/ 2147483647 w 674"/>
                <a:gd name="T59" fmla="*/ 2147483647 h 601"/>
                <a:gd name="T60" fmla="*/ 2147483647 w 674"/>
                <a:gd name="T61" fmla="*/ 2147483647 h 601"/>
                <a:gd name="T62" fmla="*/ 2147483647 w 674"/>
                <a:gd name="T63" fmla="*/ 2147483647 h 601"/>
                <a:gd name="T64" fmla="*/ 2147483647 w 674"/>
                <a:gd name="T65" fmla="*/ 2147483647 h 601"/>
                <a:gd name="T66" fmla="*/ 2147483647 w 674"/>
                <a:gd name="T67" fmla="*/ 2147483647 h 601"/>
                <a:gd name="T68" fmla="*/ 2147483647 w 674"/>
                <a:gd name="T69" fmla="*/ 2147483647 h 601"/>
                <a:gd name="T70" fmla="*/ 2147483647 w 674"/>
                <a:gd name="T71" fmla="*/ 2147483647 h 601"/>
                <a:gd name="T72" fmla="*/ 2147483647 w 674"/>
                <a:gd name="T73" fmla="*/ 2147483647 h 601"/>
                <a:gd name="T74" fmla="*/ 2147483647 w 674"/>
                <a:gd name="T75" fmla="*/ 2147483647 h 601"/>
                <a:gd name="T76" fmla="*/ 2147483647 w 674"/>
                <a:gd name="T77" fmla="*/ 2147483647 h 601"/>
                <a:gd name="T78" fmla="*/ 2147483647 w 674"/>
                <a:gd name="T79" fmla="*/ 2147483647 h 601"/>
                <a:gd name="T80" fmla="*/ 2147483647 w 674"/>
                <a:gd name="T81" fmla="*/ 2147483647 h 601"/>
                <a:gd name="T82" fmla="*/ 2147483647 w 674"/>
                <a:gd name="T83" fmla="*/ 2147483647 h 601"/>
                <a:gd name="T84" fmla="*/ 2147483647 w 674"/>
                <a:gd name="T85" fmla="*/ 2147483647 h 601"/>
                <a:gd name="T86" fmla="*/ 2147483647 w 674"/>
                <a:gd name="T87" fmla="*/ 2147483647 h 601"/>
                <a:gd name="T88" fmla="*/ 2147483647 w 674"/>
                <a:gd name="T89" fmla="*/ 2147483647 h 601"/>
                <a:gd name="T90" fmla="*/ 2147483647 w 674"/>
                <a:gd name="T91" fmla="*/ 2147483647 h 601"/>
                <a:gd name="T92" fmla="*/ 2147483647 w 674"/>
                <a:gd name="T93" fmla="*/ 2147483647 h 601"/>
                <a:gd name="T94" fmla="*/ 2147483647 w 674"/>
                <a:gd name="T95" fmla="*/ 2147483647 h 601"/>
                <a:gd name="T96" fmla="*/ 2147483647 w 674"/>
                <a:gd name="T97" fmla="*/ 2147483647 h 601"/>
                <a:gd name="T98" fmla="*/ 2147483647 w 674"/>
                <a:gd name="T99" fmla="*/ 2147483647 h 601"/>
                <a:gd name="T100" fmla="*/ 2147483647 w 674"/>
                <a:gd name="T101" fmla="*/ 2147483647 h 601"/>
                <a:gd name="T102" fmla="*/ 2147483647 w 674"/>
                <a:gd name="T103" fmla="*/ 2147483647 h 601"/>
                <a:gd name="T104" fmla="*/ 2147483647 w 674"/>
                <a:gd name="T105" fmla="*/ 2147483647 h 601"/>
                <a:gd name="T106" fmla="*/ 2147483647 w 674"/>
                <a:gd name="T107" fmla="*/ 2147483647 h 601"/>
                <a:gd name="T108" fmla="*/ 2147483647 w 674"/>
                <a:gd name="T109" fmla="*/ 2147483647 h 601"/>
                <a:gd name="T110" fmla="*/ 2147483647 w 674"/>
                <a:gd name="T111" fmla="*/ 2147483647 h 601"/>
                <a:gd name="T112" fmla="*/ 2147483647 w 674"/>
                <a:gd name="T113" fmla="*/ 2147483647 h 601"/>
                <a:gd name="T114" fmla="*/ 2147483647 w 674"/>
                <a:gd name="T115" fmla="*/ 2147483647 h 601"/>
                <a:gd name="T116" fmla="*/ 2147483647 w 674"/>
                <a:gd name="T117" fmla="*/ 2147483647 h 601"/>
                <a:gd name="T118" fmla="*/ 2147483647 w 674"/>
                <a:gd name="T119" fmla="*/ 2147483647 h 601"/>
                <a:gd name="T120" fmla="*/ 2147483647 w 674"/>
                <a:gd name="T121" fmla="*/ 2147483647 h 601"/>
                <a:gd name="T122" fmla="*/ 2147483647 w 674"/>
                <a:gd name="T123" fmla="*/ 2147483647 h 601"/>
                <a:gd name="T124" fmla="*/ 2147483647 w 674"/>
                <a:gd name="T125" fmla="*/ 2147483647 h 60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74"/>
                <a:gd name="T190" fmla="*/ 0 h 601"/>
                <a:gd name="T191" fmla="*/ 674 w 674"/>
                <a:gd name="T192" fmla="*/ 601 h 60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74" h="601">
                  <a:moveTo>
                    <a:pt x="17" y="533"/>
                  </a:moveTo>
                  <a:lnTo>
                    <a:pt x="17" y="527"/>
                  </a:lnTo>
                  <a:lnTo>
                    <a:pt x="17" y="522"/>
                  </a:lnTo>
                  <a:lnTo>
                    <a:pt x="17" y="516"/>
                  </a:lnTo>
                  <a:lnTo>
                    <a:pt x="23" y="510"/>
                  </a:lnTo>
                  <a:lnTo>
                    <a:pt x="28" y="510"/>
                  </a:lnTo>
                  <a:lnTo>
                    <a:pt x="28" y="505"/>
                  </a:lnTo>
                  <a:lnTo>
                    <a:pt x="23" y="499"/>
                  </a:lnTo>
                  <a:lnTo>
                    <a:pt x="23" y="488"/>
                  </a:lnTo>
                  <a:lnTo>
                    <a:pt x="23" y="482"/>
                  </a:lnTo>
                  <a:lnTo>
                    <a:pt x="28" y="471"/>
                  </a:lnTo>
                  <a:lnTo>
                    <a:pt x="28" y="465"/>
                  </a:lnTo>
                  <a:lnTo>
                    <a:pt x="34" y="465"/>
                  </a:lnTo>
                  <a:lnTo>
                    <a:pt x="40" y="459"/>
                  </a:lnTo>
                  <a:lnTo>
                    <a:pt x="40" y="448"/>
                  </a:lnTo>
                  <a:lnTo>
                    <a:pt x="40" y="442"/>
                  </a:lnTo>
                  <a:lnTo>
                    <a:pt x="40" y="437"/>
                  </a:lnTo>
                  <a:lnTo>
                    <a:pt x="34" y="437"/>
                  </a:lnTo>
                  <a:lnTo>
                    <a:pt x="28" y="437"/>
                  </a:lnTo>
                  <a:lnTo>
                    <a:pt x="23" y="437"/>
                  </a:lnTo>
                  <a:lnTo>
                    <a:pt x="23" y="431"/>
                  </a:lnTo>
                  <a:lnTo>
                    <a:pt x="17" y="425"/>
                  </a:lnTo>
                  <a:lnTo>
                    <a:pt x="17" y="420"/>
                  </a:lnTo>
                  <a:lnTo>
                    <a:pt x="28" y="408"/>
                  </a:lnTo>
                  <a:lnTo>
                    <a:pt x="23" y="403"/>
                  </a:lnTo>
                  <a:lnTo>
                    <a:pt x="28" y="391"/>
                  </a:lnTo>
                  <a:lnTo>
                    <a:pt x="28" y="386"/>
                  </a:lnTo>
                  <a:lnTo>
                    <a:pt x="28" y="380"/>
                  </a:lnTo>
                  <a:lnTo>
                    <a:pt x="28" y="374"/>
                  </a:lnTo>
                  <a:lnTo>
                    <a:pt x="17" y="374"/>
                  </a:lnTo>
                  <a:lnTo>
                    <a:pt x="17" y="357"/>
                  </a:lnTo>
                  <a:lnTo>
                    <a:pt x="17" y="352"/>
                  </a:lnTo>
                  <a:lnTo>
                    <a:pt x="23" y="346"/>
                  </a:lnTo>
                  <a:lnTo>
                    <a:pt x="28" y="346"/>
                  </a:lnTo>
                  <a:lnTo>
                    <a:pt x="34" y="340"/>
                  </a:lnTo>
                  <a:lnTo>
                    <a:pt x="40" y="340"/>
                  </a:lnTo>
                  <a:lnTo>
                    <a:pt x="40" y="335"/>
                  </a:lnTo>
                  <a:lnTo>
                    <a:pt x="40" y="329"/>
                  </a:lnTo>
                  <a:lnTo>
                    <a:pt x="34" y="329"/>
                  </a:lnTo>
                  <a:lnTo>
                    <a:pt x="28" y="323"/>
                  </a:lnTo>
                  <a:lnTo>
                    <a:pt x="23" y="318"/>
                  </a:lnTo>
                  <a:lnTo>
                    <a:pt x="28" y="312"/>
                  </a:lnTo>
                  <a:lnTo>
                    <a:pt x="34" y="306"/>
                  </a:lnTo>
                  <a:lnTo>
                    <a:pt x="40" y="295"/>
                  </a:lnTo>
                  <a:lnTo>
                    <a:pt x="40" y="289"/>
                  </a:lnTo>
                  <a:lnTo>
                    <a:pt x="40" y="284"/>
                  </a:lnTo>
                  <a:lnTo>
                    <a:pt x="40" y="278"/>
                  </a:lnTo>
                  <a:lnTo>
                    <a:pt x="34" y="267"/>
                  </a:lnTo>
                  <a:lnTo>
                    <a:pt x="34" y="261"/>
                  </a:lnTo>
                  <a:lnTo>
                    <a:pt x="28" y="261"/>
                  </a:lnTo>
                  <a:lnTo>
                    <a:pt x="28" y="255"/>
                  </a:lnTo>
                  <a:lnTo>
                    <a:pt x="28" y="244"/>
                  </a:lnTo>
                  <a:lnTo>
                    <a:pt x="28" y="238"/>
                  </a:lnTo>
                  <a:lnTo>
                    <a:pt x="28" y="221"/>
                  </a:lnTo>
                  <a:lnTo>
                    <a:pt x="28" y="204"/>
                  </a:lnTo>
                  <a:lnTo>
                    <a:pt x="34" y="204"/>
                  </a:lnTo>
                  <a:lnTo>
                    <a:pt x="40" y="204"/>
                  </a:lnTo>
                  <a:lnTo>
                    <a:pt x="45" y="199"/>
                  </a:lnTo>
                  <a:lnTo>
                    <a:pt x="45" y="193"/>
                  </a:lnTo>
                  <a:lnTo>
                    <a:pt x="45" y="182"/>
                  </a:lnTo>
                  <a:lnTo>
                    <a:pt x="40" y="176"/>
                  </a:lnTo>
                  <a:lnTo>
                    <a:pt x="34" y="170"/>
                  </a:lnTo>
                  <a:lnTo>
                    <a:pt x="34" y="165"/>
                  </a:lnTo>
                  <a:lnTo>
                    <a:pt x="28" y="165"/>
                  </a:lnTo>
                  <a:lnTo>
                    <a:pt x="28" y="159"/>
                  </a:lnTo>
                  <a:lnTo>
                    <a:pt x="28" y="153"/>
                  </a:lnTo>
                  <a:lnTo>
                    <a:pt x="23" y="148"/>
                  </a:lnTo>
                  <a:lnTo>
                    <a:pt x="23" y="142"/>
                  </a:lnTo>
                  <a:lnTo>
                    <a:pt x="17" y="136"/>
                  </a:lnTo>
                  <a:lnTo>
                    <a:pt x="17" y="131"/>
                  </a:lnTo>
                  <a:lnTo>
                    <a:pt x="17" y="119"/>
                  </a:lnTo>
                  <a:lnTo>
                    <a:pt x="23" y="102"/>
                  </a:lnTo>
                  <a:lnTo>
                    <a:pt x="23" y="91"/>
                  </a:lnTo>
                  <a:lnTo>
                    <a:pt x="17" y="85"/>
                  </a:lnTo>
                  <a:lnTo>
                    <a:pt x="23" y="74"/>
                  </a:lnTo>
                  <a:lnTo>
                    <a:pt x="23" y="68"/>
                  </a:lnTo>
                  <a:lnTo>
                    <a:pt x="17" y="62"/>
                  </a:lnTo>
                  <a:lnTo>
                    <a:pt x="11" y="62"/>
                  </a:lnTo>
                  <a:lnTo>
                    <a:pt x="11" y="57"/>
                  </a:lnTo>
                  <a:lnTo>
                    <a:pt x="11" y="51"/>
                  </a:lnTo>
                  <a:lnTo>
                    <a:pt x="6" y="45"/>
                  </a:lnTo>
                  <a:lnTo>
                    <a:pt x="0" y="34"/>
                  </a:lnTo>
                  <a:lnTo>
                    <a:pt x="6" y="23"/>
                  </a:lnTo>
                  <a:lnTo>
                    <a:pt x="6" y="17"/>
                  </a:lnTo>
                  <a:lnTo>
                    <a:pt x="11" y="17"/>
                  </a:lnTo>
                  <a:lnTo>
                    <a:pt x="11" y="11"/>
                  </a:lnTo>
                  <a:lnTo>
                    <a:pt x="11" y="6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3" y="0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5" y="0"/>
                  </a:lnTo>
                  <a:lnTo>
                    <a:pt x="51" y="0"/>
                  </a:lnTo>
                  <a:lnTo>
                    <a:pt x="62" y="6"/>
                  </a:lnTo>
                  <a:lnTo>
                    <a:pt x="57" y="11"/>
                  </a:lnTo>
                  <a:lnTo>
                    <a:pt x="62" y="11"/>
                  </a:lnTo>
                  <a:lnTo>
                    <a:pt x="62" y="17"/>
                  </a:lnTo>
                  <a:lnTo>
                    <a:pt x="68" y="23"/>
                  </a:lnTo>
                  <a:lnTo>
                    <a:pt x="68" y="28"/>
                  </a:lnTo>
                  <a:lnTo>
                    <a:pt x="68" y="34"/>
                  </a:lnTo>
                  <a:lnTo>
                    <a:pt x="68" y="45"/>
                  </a:lnTo>
                  <a:lnTo>
                    <a:pt x="68" y="51"/>
                  </a:lnTo>
                  <a:lnTo>
                    <a:pt x="68" y="57"/>
                  </a:lnTo>
                  <a:lnTo>
                    <a:pt x="68" y="62"/>
                  </a:lnTo>
                  <a:lnTo>
                    <a:pt x="68" y="68"/>
                  </a:lnTo>
                  <a:lnTo>
                    <a:pt x="68" y="74"/>
                  </a:lnTo>
                  <a:lnTo>
                    <a:pt x="74" y="74"/>
                  </a:lnTo>
                  <a:lnTo>
                    <a:pt x="79" y="74"/>
                  </a:lnTo>
                  <a:lnTo>
                    <a:pt x="79" y="68"/>
                  </a:lnTo>
                  <a:lnTo>
                    <a:pt x="79" y="62"/>
                  </a:lnTo>
                  <a:lnTo>
                    <a:pt x="85" y="57"/>
                  </a:lnTo>
                  <a:lnTo>
                    <a:pt x="85" y="45"/>
                  </a:lnTo>
                  <a:lnTo>
                    <a:pt x="91" y="40"/>
                  </a:lnTo>
                  <a:lnTo>
                    <a:pt x="96" y="40"/>
                  </a:lnTo>
                  <a:lnTo>
                    <a:pt x="102" y="45"/>
                  </a:lnTo>
                  <a:lnTo>
                    <a:pt x="108" y="51"/>
                  </a:lnTo>
                  <a:lnTo>
                    <a:pt x="108" y="57"/>
                  </a:lnTo>
                  <a:lnTo>
                    <a:pt x="108" y="62"/>
                  </a:lnTo>
                  <a:lnTo>
                    <a:pt x="108" y="68"/>
                  </a:lnTo>
                  <a:lnTo>
                    <a:pt x="108" y="74"/>
                  </a:lnTo>
                  <a:lnTo>
                    <a:pt x="102" y="74"/>
                  </a:lnTo>
                  <a:lnTo>
                    <a:pt x="102" y="80"/>
                  </a:lnTo>
                  <a:lnTo>
                    <a:pt x="102" y="85"/>
                  </a:lnTo>
                  <a:lnTo>
                    <a:pt x="102" y="91"/>
                  </a:lnTo>
                  <a:lnTo>
                    <a:pt x="96" y="97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102" y="119"/>
                  </a:lnTo>
                  <a:lnTo>
                    <a:pt x="102" y="125"/>
                  </a:lnTo>
                  <a:lnTo>
                    <a:pt x="102" y="131"/>
                  </a:lnTo>
                  <a:lnTo>
                    <a:pt x="108" y="131"/>
                  </a:lnTo>
                  <a:lnTo>
                    <a:pt x="108" y="136"/>
                  </a:lnTo>
                  <a:lnTo>
                    <a:pt x="108" y="142"/>
                  </a:lnTo>
                  <a:lnTo>
                    <a:pt x="113" y="142"/>
                  </a:lnTo>
                  <a:lnTo>
                    <a:pt x="113" y="148"/>
                  </a:lnTo>
                  <a:lnTo>
                    <a:pt x="113" y="153"/>
                  </a:lnTo>
                  <a:lnTo>
                    <a:pt x="119" y="153"/>
                  </a:lnTo>
                  <a:lnTo>
                    <a:pt x="125" y="153"/>
                  </a:lnTo>
                  <a:lnTo>
                    <a:pt x="125" y="159"/>
                  </a:lnTo>
                  <a:lnTo>
                    <a:pt x="125" y="165"/>
                  </a:lnTo>
                  <a:lnTo>
                    <a:pt x="130" y="165"/>
                  </a:lnTo>
                  <a:lnTo>
                    <a:pt x="130" y="170"/>
                  </a:lnTo>
                  <a:lnTo>
                    <a:pt x="136" y="170"/>
                  </a:lnTo>
                  <a:lnTo>
                    <a:pt x="136" y="182"/>
                  </a:lnTo>
                  <a:lnTo>
                    <a:pt x="142" y="182"/>
                  </a:lnTo>
                  <a:lnTo>
                    <a:pt x="142" y="187"/>
                  </a:lnTo>
                  <a:lnTo>
                    <a:pt x="142" y="193"/>
                  </a:lnTo>
                  <a:lnTo>
                    <a:pt x="147" y="193"/>
                  </a:lnTo>
                  <a:lnTo>
                    <a:pt x="153" y="199"/>
                  </a:lnTo>
                  <a:lnTo>
                    <a:pt x="159" y="210"/>
                  </a:lnTo>
                  <a:lnTo>
                    <a:pt x="164" y="210"/>
                  </a:lnTo>
                  <a:lnTo>
                    <a:pt x="164" y="216"/>
                  </a:lnTo>
                  <a:lnTo>
                    <a:pt x="170" y="216"/>
                  </a:lnTo>
                  <a:lnTo>
                    <a:pt x="170" y="221"/>
                  </a:lnTo>
                  <a:lnTo>
                    <a:pt x="181" y="227"/>
                  </a:lnTo>
                  <a:lnTo>
                    <a:pt x="187" y="227"/>
                  </a:lnTo>
                  <a:lnTo>
                    <a:pt x="193" y="227"/>
                  </a:lnTo>
                  <a:lnTo>
                    <a:pt x="198" y="227"/>
                  </a:lnTo>
                  <a:lnTo>
                    <a:pt x="204" y="227"/>
                  </a:lnTo>
                  <a:lnTo>
                    <a:pt x="210" y="227"/>
                  </a:lnTo>
                  <a:lnTo>
                    <a:pt x="215" y="227"/>
                  </a:lnTo>
                  <a:lnTo>
                    <a:pt x="221" y="221"/>
                  </a:lnTo>
                  <a:lnTo>
                    <a:pt x="227" y="216"/>
                  </a:lnTo>
                  <a:lnTo>
                    <a:pt x="232" y="210"/>
                  </a:lnTo>
                  <a:lnTo>
                    <a:pt x="232" y="204"/>
                  </a:lnTo>
                  <a:lnTo>
                    <a:pt x="238" y="199"/>
                  </a:lnTo>
                  <a:lnTo>
                    <a:pt x="238" y="193"/>
                  </a:lnTo>
                  <a:lnTo>
                    <a:pt x="238" y="182"/>
                  </a:lnTo>
                  <a:lnTo>
                    <a:pt x="244" y="182"/>
                  </a:lnTo>
                  <a:lnTo>
                    <a:pt x="244" y="176"/>
                  </a:lnTo>
                  <a:lnTo>
                    <a:pt x="249" y="176"/>
                  </a:lnTo>
                  <a:lnTo>
                    <a:pt x="255" y="176"/>
                  </a:lnTo>
                  <a:lnTo>
                    <a:pt x="255" y="182"/>
                  </a:lnTo>
                  <a:lnTo>
                    <a:pt x="261" y="182"/>
                  </a:lnTo>
                  <a:lnTo>
                    <a:pt x="261" y="187"/>
                  </a:lnTo>
                  <a:lnTo>
                    <a:pt x="261" y="193"/>
                  </a:lnTo>
                  <a:lnTo>
                    <a:pt x="266" y="193"/>
                  </a:lnTo>
                  <a:lnTo>
                    <a:pt x="266" y="199"/>
                  </a:lnTo>
                  <a:lnTo>
                    <a:pt x="272" y="199"/>
                  </a:lnTo>
                  <a:lnTo>
                    <a:pt x="278" y="199"/>
                  </a:lnTo>
                  <a:lnTo>
                    <a:pt x="283" y="199"/>
                  </a:lnTo>
                  <a:lnTo>
                    <a:pt x="295" y="193"/>
                  </a:lnTo>
                  <a:lnTo>
                    <a:pt x="306" y="193"/>
                  </a:lnTo>
                  <a:lnTo>
                    <a:pt x="312" y="193"/>
                  </a:lnTo>
                  <a:lnTo>
                    <a:pt x="317" y="193"/>
                  </a:lnTo>
                  <a:lnTo>
                    <a:pt x="323" y="199"/>
                  </a:lnTo>
                  <a:lnTo>
                    <a:pt x="329" y="199"/>
                  </a:lnTo>
                  <a:lnTo>
                    <a:pt x="334" y="199"/>
                  </a:lnTo>
                  <a:lnTo>
                    <a:pt x="340" y="199"/>
                  </a:lnTo>
                  <a:lnTo>
                    <a:pt x="340" y="204"/>
                  </a:lnTo>
                  <a:lnTo>
                    <a:pt x="346" y="204"/>
                  </a:lnTo>
                  <a:lnTo>
                    <a:pt x="346" y="210"/>
                  </a:lnTo>
                  <a:lnTo>
                    <a:pt x="346" y="216"/>
                  </a:lnTo>
                  <a:lnTo>
                    <a:pt x="351" y="216"/>
                  </a:lnTo>
                  <a:lnTo>
                    <a:pt x="351" y="221"/>
                  </a:lnTo>
                  <a:lnTo>
                    <a:pt x="351" y="227"/>
                  </a:lnTo>
                  <a:lnTo>
                    <a:pt x="351" y="233"/>
                  </a:lnTo>
                  <a:lnTo>
                    <a:pt x="357" y="238"/>
                  </a:lnTo>
                  <a:lnTo>
                    <a:pt x="363" y="238"/>
                  </a:lnTo>
                  <a:lnTo>
                    <a:pt x="363" y="244"/>
                  </a:lnTo>
                  <a:lnTo>
                    <a:pt x="363" y="250"/>
                  </a:lnTo>
                  <a:lnTo>
                    <a:pt x="368" y="250"/>
                  </a:lnTo>
                  <a:lnTo>
                    <a:pt x="374" y="250"/>
                  </a:lnTo>
                  <a:lnTo>
                    <a:pt x="374" y="261"/>
                  </a:lnTo>
                  <a:lnTo>
                    <a:pt x="374" y="267"/>
                  </a:lnTo>
                  <a:lnTo>
                    <a:pt x="374" y="272"/>
                  </a:lnTo>
                  <a:lnTo>
                    <a:pt x="374" y="278"/>
                  </a:lnTo>
                  <a:lnTo>
                    <a:pt x="374" y="284"/>
                  </a:lnTo>
                  <a:lnTo>
                    <a:pt x="374" y="289"/>
                  </a:lnTo>
                  <a:lnTo>
                    <a:pt x="374" y="295"/>
                  </a:lnTo>
                  <a:lnTo>
                    <a:pt x="374" y="301"/>
                  </a:lnTo>
                  <a:lnTo>
                    <a:pt x="374" y="306"/>
                  </a:lnTo>
                  <a:lnTo>
                    <a:pt x="368" y="312"/>
                  </a:lnTo>
                  <a:lnTo>
                    <a:pt x="363" y="312"/>
                  </a:lnTo>
                  <a:lnTo>
                    <a:pt x="363" y="318"/>
                  </a:lnTo>
                  <a:lnTo>
                    <a:pt x="363" y="323"/>
                  </a:lnTo>
                  <a:lnTo>
                    <a:pt x="368" y="323"/>
                  </a:lnTo>
                  <a:lnTo>
                    <a:pt x="374" y="323"/>
                  </a:lnTo>
                  <a:lnTo>
                    <a:pt x="385" y="329"/>
                  </a:lnTo>
                  <a:lnTo>
                    <a:pt x="391" y="329"/>
                  </a:lnTo>
                  <a:lnTo>
                    <a:pt x="397" y="329"/>
                  </a:lnTo>
                  <a:lnTo>
                    <a:pt x="402" y="329"/>
                  </a:lnTo>
                  <a:lnTo>
                    <a:pt x="408" y="329"/>
                  </a:lnTo>
                  <a:lnTo>
                    <a:pt x="419" y="329"/>
                  </a:lnTo>
                  <a:lnTo>
                    <a:pt x="431" y="323"/>
                  </a:lnTo>
                  <a:lnTo>
                    <a:pt x="436" y="323"/>
                  </a:lnTo>
                  <a:lnTo>
                    <a:pt x="442" y="318"/>
                  </a:lnTo>
                  <a:lnTo>
                    <a:pt x="448" y="318"/>
                  </a:lnTo>
                  <a:lnTo>
                    <a:pt x="448" y="323"/>
                  </a:lnTo>
                  <a:lnTo>
                    <a:pt x="453" y="323"/>
                  </a:lnTo>
                  <a:lnTo>
                    <a:pt x="459" y="318"/>
                  </a:lnTo>
                  <a:lnTo>
                    <a:pt x="465" y="318"/>
                  </a:lnTo>
                  <a:lnTo>
                    <a:pt x="465" y="312"/>
                  </a:lnTo>
                  <a:lnTo>
                    <a:pt x="470" y="306"/>
                  </a:lnTo>
                  <a:lnTo>
                    <a:pt x="476" y="306"/>
                  </a:lnTo>
                  <a:lnTo>
                    <a:pt x="482" y="301"/>
                  </a:lnTo>
                  <a:lnTo>
                    <a:pt x="487" y="301"/>
                  </a:lnTo>
                  <a:lnTo>
                    <a:pt x="487" y="295"/>
                  </a:lnTo>
                  <a:lnTo>
                    <a:pt x="493" y="295"/>
                  </a:lnTo>
                  <a:lnTo>
                    <a:pt x="499" y="289"/>
                  </a:lnTo>
                  <a:lnTo>
                    <a:pt x="504" y="289"/>
                  </a:lnTo>
                  <a:lnTo>
                    <a:pt x="510" y="295"/>
                  </a:lnTo>
                  <a:lnTo>
                    <a:pt x="516" y="295"/>
                  </a:lnTo>
                  <a:lnTo>
                    <a:pt x="516" y="306"/>
                  </a:lnTo>
                  <a:lnTo>
                    <a:pt x="521" y="312"/>
                  </a:lnTo>
                  <a:lnTo>
                    <a:pt x="527" y="318"/>
                  </a:lnTo>
                  <a:lnTo>
                    <a:pt x="527" y="323"/>
                  </a:lnTo>
                  <a:lnTo>
                    <a:pt x="527" y="329"/>
                  </a:lnTo>
                  <a:lnTo>
                    <a:pt x="533" y="335"/>
                  </a:lnTo>
                  <a:lnTo>
                    <a:pt x="538" y="340"/>
                  </a:lnTo>
                  <a:lnTo>
                    <a:pt x="544" y="340"/>
                  </a:lnTo>
                  <a:lnTo>
                    <a:pt x="550" y="335"/>
                  </a:lnTo>
                  <a:lnTo>
                    <a:pt x="555" y="335"/>
                  </a:lnTo>
                  <a:lnTo>
                    <a:pt x="561" y="335"/>
                  </a:lnTo>
                  <a:lnTo>
                    <a:pt x="561" y="329"/>
                  </a:lnTo>
                  <a:lnTo>
                    <a:pt x="567" y="323"/>
                  </a:lnTo>
                  <a:lnTo>
                    <a:pt x="572" y="323"/>
                  </a:lnTo>
                  <a:lnTo>
                    <a:pt x="578" y="329"/>
                  </a:lnTo>
                  <a:lnTo>
                    <a:pt x="584" y="329"/>
                  </a:lnTo>
                  <a:lnTo>
                    <a:pt x="584" y="335"/>
                  </a:lnTo>
                  <a:lnTo>
                    <a:pt x="584" y="340"/>
                  </a:lnTo>
                  <a:lnTo>
                    <a:pt x="589" y="346"/>
                  </a:lnTo>
                  <a:lnTo>
                    <a:pt x="589" y="352"/>
                  </a:lnTo>
                  <a:lnTo>
                    <a:pt x="601" y="357"/>
                  </a:lnTo>
                  <a:lnTo>
                    <a:pt x="601" y="363"/>
                  </a:lnTo>
                  <a:lnTo>
                    <a:pt x="606" y="363"/>
                  </a:lnTo>
                  <a:lnTo>
                    <a:pt x="612" y="363"/>
                  </a:lnTo>
                  <a:lnTo>
                    <a:pt x="629" y="357"/>
                  </a:lnTo>
                  <a:lnTo>
                    <a:pt x="629" y="352"/>
                  </a:lnTo>
                  <a:lnTo>
                    <a:pt x="635" y="352"/>
                  </a:lnTo>
                  <a:lnTo>
                    <a:pt x="640" y="352"/>
                  </a:lnTo>
                  <a:lnTo>
                    <a:pt x="652" y="352"/>
                  </a:lnTo>
                  <a:lnTo>
                    <a:pt x="657" y="352"/>
                  </a:lnTo>
                  <a:lnTo>
                    <a:pt x="663" y="352"/>
                  </a:lnTo>
                  <a:lnTo>
                    <a:pt x="669" y="352"/>
                  </a:lnTo>
                  <a:lnTo>
                    <a:pt x="663" y="363"/>
                  </a:lnTo>
                  <a:lnTo>
                    <a:pt x="663" y="374"/>
                  </a:lnTo>
                  <a:lnTo>
                    <a:pt x="657" y="380"/>
                  </a:lnTo>
                  <a:lnTo>
                    <a:pt x="657" y="391"/>
                  </a:lnTo>
                  <a:lnTo>
                    <a:pt x="657" y="403"/>
                  </a:lnTo>
                  <a:lnTo>
                    <a:pt x="657" y="408"/>
                  </a:lnTo>
                  <a:lnTo>
                    <a:pt x="657" y="414"/>
                  </a:lnTo>
                  <a:lnTo>
                    <a:pt x="646" y="420"/>
                  </a:lnTo>
                  <a:lnTo>
                    <a:pt x="640" y="420"/>
                  </a:lnTo>
                  <a:lnTo>
                    <a:pt x="635" y="425"/>
                  </a:lnTo>
                  <a:lnTo>
                    <a:pt x="629" y="431"/>
                  </a:lnTo>
                  <a:lnTo>
                    <a:pt x="623" y="431"/>
                  </a:lnTo>
                  <a:lnTo>
                    <a:pt x="618" y="437"/>
                  </a:lnTo>
                  <a:lnTo>
                    <a:pt x="606" y="442"/>
                  </a:lnTo>
                  <a:lnTo>
                    <a:pt x="601" y="448"/>
                  </a:lnTo>
                  <a:lnTo>
                    <a:pt x="601" y="454"/>
                  </a:lnTo>
                  <a:lnTo>
                    <a:pt x="601" y="471"/>
                  </a:lnTo>
                  <a:lnTo>
                    <a:pt x="595" y="471"/>
                  </a:lnTo>
                  <a:lnTo>
                    <a:pt x="595" y="476"/>
                  </a:lnTo>
                  <a:lnTo>
                    <a:pt x="601" y="482"/>
                  </a:lnTo>
                  <a:lnTo>
                    <a:pt x="601" y="488"/>
                  </a:lnTo>
                  <a:lnTo>
                    <a:pt x="606" y="493"/>
                  </a:lnTo>
                  <a:lnTo>
                    <a:pt x="612" y="499"/>
                  </a:lnTo>
                  <a:lnTo>
                    <a:pt x="618" y="499"/>
                  </a:lnTo>
                  <a:lnTo>
                    <a:pt x="629" y="499"/>
                  </a:lnTo>
                  <a:lnTo>
                    <a:pt x="635" y="499"/>
                  </a:lnTo>
                  <a:lnTo>
                    <a:pt x="640" y="499"/>
                  </a:lnTo>
                  <a:lnTo>
                    <a:pt x="646" y="499"/>
                  </a:lnTo>
                  <a:lnTo>
                    <a:pt x="652" y="493"/>
                  </a:lnTo>
                  <a:lnTo>
                    <a:pt x="657" y="488"/>
                  </a:lnTo>
                  <a:lnTo>
                    <a:pt x="669" y="482"/>
                  </a:lnTo>
                  <a:lnTo>
                    <a:pt x="669" y="476"/>
                  </a:lnTo>
                  <a:lnTo>
                    <a:pt x="674" y="476"/>
                  </a:lnTo>
                  <a:lnTo>
                    <a:pt x="674" y="482"/>
                  </a:lnTo>
                  <a:lnTo>
                    <a:pt x="674" y="488"/>
                  </a:lnTo>
                  <a:lnTo>
                    <a:pt x="674" y="493"/>
                  </a:lnTo>
                  <a:lnTo>
                    <a:pt x="674" y="499"/>
                  </a:lnTo>
                  <a:lnTo>
                    <a:pt x="674" y="505"/>
                  </a:lnTo>
                  <a:lnTo>
                    <a:pt x="674" y="516"/>
                  </a:lnTo>
                  <a:lnTo>
                    <a:pt x="674" y="522"/>
                  </a:lnTo>
                  <a:lnTo>
                    <a:pt x="674" y="527"/>
                  </a:lnTo>
                  <a:lnTo>
                    <a:pt x="674" y="533"/>
                  </a:lnTo>
                  <a:lnTo>
                    <a:pt x="669" y="533"/>
                  </a:lnTo>
                  <a:lnTo>
                    <a:pt x="663" y="539"/>
                  </a:lnTo>
                  <a:lnTo>
                    <a:pt x="657" y="544"/>
                  </a:lnTo>
                  <a:lnTo>
                    <a:pt x="657" y="550"/>
                  </a:lnTo>
                  <a:lnTo>
                    <a:pt x="657" y="556"/>
                  </a:lnTo>
                  <a:lnTo>
                    <a:pt x="646" y="556"/>
                  </a:lnTo>
                  <a:lnTo>
                    <a:pt x="640" y="556"/>
                  </a:lnTo>
                  <a:lnTo>
                    <a:pt x="635" y="556"/>
                  </a:lnTo>
                  <a:lnTo>
                    <a:pt x="635" y="561"/>
                  </a:lnTo>
                  <a:lnTo>
                    <a:pt x="635" y="567"/>
                  </a:lnTo>
                  <a:lnTo>
                    <a:pt x="640" y="567"/>
                  </a:lnTo>
                  <a:lnTo>
                    <a:pt x="646" y="567"/>
                  </a:lnTo>
                  <a:lnTo>
                    <a:pt x="652" y="567"/>
                  </a:lnTo>
                  <a:lnTo>
                    <a:pt x="657" y="567"/>
                  </a:lnTo>
                  <a:lnTo>
                    <a:pt x="669" y="567"/>
                  </a:lnTo>
                  <a:lnTo>
                    <a:pt x="674" y="573"/>
                  </a:lnTo>
                  <a:lnTo>
                    <a:pt x="674" y="578"/>
                  </a:lnTo>
                  <a:lnTo>
                    <a:pt x="674" y="584"/>
                  </a:lnTo>
                  <a:lnTo>
                    <a:pt x="669" y="595"/>
                  </a:lnTo>
                  <a:lnTo>
                    <a:pt x="663" y="595"/>
                  </a:lnTo>
                  <a:lnTo>
                    <a:pt x="657" y="601"/>
                  </a:lnTo>
                  <a:lnTo>
                    <a:pt x="657" y="595"/>
                  </a:lnTo>
                  <a:lnTo>
                    <a:pt x="652" y="595"/>
                  </a:lnTo>
                  <a:lnTo>
                    <a:pt x="629" y="584"/>
                  </a:lnTo>
                  <a:lnTo>
                    <a:pt x="623" y="584"/>
                  </a:lnTo>
                  <a:lnTo>
                    <a:pt x="618" y="578"/>
                  </a:lnTo>
                  <a:lnTo>
                    <a:pt x="606" y="578"/>
                  </a:lnTo>
                  <a:lnTo>
                    <a:pt x="601" y="573"/>
                  </a:lnTo>
                  <a:lnTo>
                    <a:pt x="589" y="573"/>
                  </a:lnTo>
                  <a:lnTo>
                    <a:pt x="578" y="573"/>
                  </a:lnTo>
                  <a:lnTo>
                    <a:pt x="578" y="556"/>
                  </a:lnTo>
                  <a:lnTo>
                    <a:pt x="578" y="544"/>
                  </a:lnTo>
                  <a:lnTo>
                    <a:pt x="572" y="544"/>
                  </a:lnTo>
                  <a:lnTo>
                    <a:pt x="561" y="544"/>
                  </a:lnTo>
                  <a:lnTo>
                    <a:pt x="550" y="544"/>
                  </a:lnTo>
                  <a:lnTo>
                    <a:pt x="544" y="544"/>
                  </a:lnTo>
                  <a:lnTo>
                    <a:pt x="538" y="539"/>
                  </a:lnTo>
                  <a:lnTo>
                    <a:pt x="533" y="533"/>
                  </a:lnTo>
                  <a:lnTo>
                    <a:pt x="521" y="533"/>
                  </a:lnTo>
                  <a:lnTo>
                    <a:pt x="516" y="527"/>
                  </a:lnTo>
                  <a:lnTo>
                    <a:pt x="516" y="522"/>
                  </a:lnTo>
                  <a:lnTo>
                    <a:pt x="521" y="516"/>
                  </a:lnTo>
                  <a:lnTo>
                    <a:pt x="527" y="516"/>
                  </a:lnTo>
                  <a:lnTo>
                    <a:pt x="533" y="516"/>
                  </a:lnTo>
                  <a:lnTo>
                    <a:pt x="538" y="516"/>
                  </a:lnTo>
                  <a:lnTo>
                    <a:pt x="538" y="510"/>
                  </a:lnTo>
                  <a:lnTo>
                    <a:pt x="544" y="505"/>
                  </a:lnTo>
                  <a:lnTo>
                    <a:pt x="544" y="499"/>
                  </a:lnTo>
                  <a:lnTo>
                    <a:pt x="538" y="499"/>
                  </a:lnTo>
                  <a:lnTo>
                    <a:pt x="538" y="493"/>
                  </a:lnTo>
                  <a:lnTo>
                    <a:pt x="533" y="493"/>
                  </a:lnTo>
                  <a:lnTo>
                    <a:pt x="527" y="499"/>
                  </a:lnTo>
                  <a:lnTo>
                    <a:pt x="521" y="499"/>
                  </a:lnTo>
                  <a:lnTo>
                    <a:pt x="516" y="499"/>
                  </a:lnTo>
                  <a:lnTo>
                    <a:pt x="510" y="499"/>
                  </a:lnTo>
                  <a:lnTo>
                    <a:pt x="504" y="505"/>
                  </a:lnTo>
                  <a:lnTo>
                    <a:pt x="499" y="505"/>
                  </a:lnTo>
                  <a:lnTo>
                    <a:pt x="493" y="505"/>
                  </a:lnTo>
                  <a:lnTo>
                    <a:pt x="493" y="499"/>
                  </a:lnTo>
                  <a:lnTo>
                    <a:pt x="487" y="488"/>
                  </a:lnTo>
                  <a:lnTo>
                    <a:pt x="487" y="482"/>
                  </a:lnTo>
                  <a:lnTo>
                    <a:pt x="493" y="482"/>
                  </a:lnTo>
                  <a:lnTo>
                    <a:pt x="493" y="476"/>
                  </a:lnTo>
                  <a:lnTo>
                    <a:pt x="504" y="471"/>
                  </a:lnTo>
                  <a:lnTo>
                    <a:pt x="510" y="471"/>
                  </a:lnTo>
                  <a:lnTo>
                    <a:pt x="510" y="465"/>
                  </a:lnTo>
                  <a:lnTo>
                    <a:pt x="516" y="465"/>
                  </a:lnTo>
                  <a:lnTo>
                    <a:pt x="516" y="459"/>
                  </a:lnTo>
                  <a:lnTo>
                    <a:pt x="510" y="459"/>
                  </a:lnTo>
                  <a:lnTo>
                    <a:pt x="487" y="459"/>
                  </a:lnTo>
                  <a:lnTo>
                    <a:pt x="448" y="459"/>
                  </a:lnTo>
                  <a:lnTo>
                    <a:pt x="380" y="459"/>
                  </a:lnTo>
                  <a:lnTo>
                    <a:pt x="368" y="459"/>
                  </a:lnTo>
                  <a:lnTo>
                    <a:pt x="363" y="459"/>
                  </a:lnTo>
                  <a:lnTo>
                    <a:pt x="266" y="459"/>
                  </a:lnTo>
                  <a:lnTo>
                    <a:pt x="261" y="459"/>
                  </a:lnTo>
                  <a:lnTo>
                    <a:pt x="261" y="465"/>
                  </a:lnTo>
                  <a:lnTo>
                    <a:pt x="261" y="471"/>
                  </a:lnTo>
                  <a:lnTo>
                    <a:pt x="255" y="471"/>
                  </a:lnTo>
                  <a:lnTo>
                    <a:pt x="249" y="471"/>
                  </a:lnTo>
                  <a:lnTo>
                    <a:pt x="244" y="471"/>
                  </a:lnTo>
                  <a:lnTo>
                    <a:pt x="238" y="471"/>
                  </a:lnTo>
                  <a:lnTo>
                    <a:pt x="232" y="465"/>
                  </a:lnTo>
                  <a:lnTo>
                    <a:pt x="227" y="459"/>
                  </a:lnTo>
                  <a:lnTo>
                    <a:pt x="227" y="454"/>
                  </a:lnTo>
                  <a:lnTo>
                    <a:pt x="221" y="454"/>
                  </a:lnTo>
                  <a:lnTo>
                    <a:pt x="210" y="454"/>
                  </a:lnTo>
                  <a:lnTo>
                    <a:pt x="198" y="454"/>
                  </a:lnTo>
                  <a:lnTo>
                    <a:pt x="198" y="459"/>
                  </a:lnTo>
                  <a:lnTo>
                    <a:pt x="193" y="459"/>
                  </a:lnTo>
                  <a:lnTo>
                    <a:pt x="193" y="465"/>
                  </a:lnTo>
                  <a:lnTo>
                    <a:pt x="193" y="471"/>
                  </a:lnTo>
                  <a:lnTo>
                    <a:pt x="187" y="476"/>
                  </a:lnTo>
                  <a:lnTo>
                    <a:pt x="187" y="482"/>
                  </a:lnTo>
                  <a:lnTo>
                    <a:pt x="181" y="482"/>
                  </a:lnTo>
                  <a:lnTo>
                    <a:pt x="181" y="488"/>
                  </a:lnTo>
                  <a:lnTo>
                    <a:pt x="181" y="493"/>
                  </a:lnTo>
                  <a:lnTo>
                    <a:pt x="176" y="505"/>
                  </a:lnTo>
                  <a:lnTo>
                    <a:pt x="170" y="505"/>
                  </a:lnTo>
                  <a:lnTo>
                    <a:pt x="164" y="510"/>
                  </a:lnTo>
                  <a:lnTo>
                    <a:pt x="164" y="516"/>
                  </a:lnTo>
                  <a:lnTo>
                    <a:pt x="159" y="516"/>
                  </a:lnTo>
                  <a:lnTo>
                    <a:pt x="153" y="516"/>
                  </a:lnTo>
                  <a:lnTo>
                    <a:pt x="147" y="516"/>
                  </a:lnTo>
                  <a:lnTo>
                    <a:pt x="142" y="516"/>
                  </a:lnTo>
                  <a:lnTo>
                    <a:pt x="136" y="516"/>
                  </a:lnTo>
                  <a:lnTo>
                    <a:pt x="130" y="516"/>
                  </a:lnTo>
                  <a:lnTo>
                    <a:pt x="125" y="516"/>
                  </a:lnTo>
                  <a:lnTo>
                    <a:pt x="119" y="516"/>
                  </a:lnTo>
                  <a:lnTo>
                    <a:pt x="113" y="516"/>
                  </a:lnTo>
                  <a:lnTo>
                    <a:pt x="108" y="516"/>
                  </a:lnTo>
                  <a:lnTo>
                    <a:pt x="102" y="516"/>
                  </a:lnTo>
                  <a:lnTo>
                    <a:pt x="96" y="516"/>
                  </a:lnTo>
                  <a:lnTo>
                    <a:pt x="91" y="516"/>
                  </a:lnTo>
                  <a:lnTo>
                    <a:pt x="85" y="516"/>
                  </a:lnTo>
                  <a:lnTo>
                    <a:pt x="79" y="510"/>
                  </a:lnTo>
                  <a:lnTo>
                    <a:pt x="74" y="510"/>
                  </a:lnTo>
                  <a:lnTo>
                    <a:pt x="68" y="510"/>
                  </a:lnTo>
                  <a:lnTo>
                    <a:pt x="62" y="516"/>
                  </a:lnTo>
                  <a:lnTo>
                    <a:pt x="57" y="522"/>
                  </a:lnTo>
                  <a:lnTo>
                    <a:pt x="57" y="527"/>
                  </a:lnTo>
                  <a:lnTo>
                    <a:pt x="51" y="527"/>
                  </a:lnTo>
                  <a:lnTo>
                    <a:pt x="45" y="527"/>
                  </a:lnTo>
                  <a:lnTo>
                    <a:pt x="40" y="533"/>
                  </a:lnTo>
                  <a:lnTo>
                    <a:pt x="34" y="527"/>
                  </a:lnTo>
                  <a:lnTo>
                    <a:pt x="28" y="527"/>
                  </a:lnTo>
                  <a:lnTo>
                    <a:pt x="17" y="527"/>
                  </a:lnTo>
                  <a:lnTo>
                    <a:pt x="17" y="53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5" name="Freeform 14"/>
            <p:cNvSpPr>
              <a:spLocks/>
            </p:cNvSpPr>
            <p:nvPr/>
          </p:nvSpPr>
          <p:spPr bwMode="gray">
            <a:xfrm>
              <a:off x="1016842" y="3403796"/>
              <a:ext cx="859029" cy="1051841"/>
            </a:xfrm>
            <a:custGeom>
              <a:avLst/>
              <a:gdLst>
                <a:gd name="T0" fmla="*/ 2147483647 w 612"/>
                <a:gd name="T1" fmla="*/ 2147483647 h 788"/>
                <a:gd name="T2" fmla="*/ 2147483647 w 612"/>
                <a:gd name="T3" fmla="*/ 2147483647 h 788"/>
                <a:gd name="T4" fmla="*/ 2147483647 w 612"/>
                <a:gd name="T5" fmla="*/ 2147483647 h 788"/>
                <a:gd name="T6" fmla="*/ 2147483647 w 612"/>
                <a:gd name="T7" fmla="*/ 2147483647 h 788"/>
                <a:gd name="T8" fmla="*/ 2147483647 w 612"/>
                <a:gd name="T9" fmla="*/ 2147483647 h 788"/>
                <a:gd name="T10" fmla="*/ 2147483647 w 612"/>
                <a:gd name="T11" fmla="*/ 2147483647 h 788"/>
                <a:gd name="T12" fmla="*/ 2147483647 w 612"/>
                <a:gd name="T13" fmla="*/ 2147483647 h 788"/>
                <a:gd name="T14" fmla="*/ 2147483647 w 612"/>
                <a:gd name="T15" fmla="*/ 2147483647 h 788"/>
                <a:gd name="T16" fmla="*/ 2147483647 w 612"/>
                <a:gd name="T17" fmla="*/ 2147483647 h 788"/>
                <a:gd name="T18" fmla="*/ 2147483647 w 612"/>
                <a:gd name="T19" fmla="*/ 2147483647 h 788"/>
                <a:gd name="T20" fmla="*/ 2147483647 w 612"/>
                <a:gd name="T21" fmla="*/ 2147483647 h 788"/>
                <a:gd name="T22" fmla="*/ 2147483647 w 612"/>
                <a:gd name="T23" fmla="*/ 2147483647 h 788"/>
                <a:gd name="T24" fmla="*/ 2147483647 w 612"/>
                <a:gd name="T25" fmla="*/ 2147483647 h 788"/>
                <a:gd name="T26" fmla="*/ 2147483647 w 612"/>
                <a:gd name="T27" fmla="*/ 2147483647 h 788"/>
                <a:gd name="T28" fmla="*/ 2147483647 w 612"/>
                <a:gd name="T29" fmla="*/ 2147483647 h 788"/>
                <a:gd name="T30" fmla="*/ 2147483647 w 612"/>
                <a:gd name="T31" fmla="*/ 2147483647 h 788"/>
                <a:gd name="T32" fmla="*/ 2147483647 w 612"/>
                <a:gd name="T33" fmla="*/ 2147483647 h 788"/>
                <a:gd name="T34" fmla="*/ 2147483647 w 612"/>
                <a:gd name="T35" fmla="*/ 2147483647 h 788"/>
                <a:gd name="T36" fmla="*/ 2147483647 w 612"/>
                <a:gd name="T37" fmla="*/ 2147483647 h 788"/>
                <a:gd name="T38" fmla="*/ 2147483647 w 612"/>
                <a:gd name="T39" fmla="*/ 2147483647 h 788"/>
                <a:gd name="T40" fmla="*/ 2147483647 w 612"/>
                <a:gd name="T41" fmla="*/ 2147483647 h 788"/>
                <a:gd name="T42" fmla="*/ 2147483647 w 612"/>
                <a:gd name="T43" fmla="*/ 2147483647 h 788"/>
                <a:gd name="T44" fmla="*/ 2147483647 w 612"/>
                <a:gd name="T45" fmla="*/ 2147483647 h 788"/>
                <a:gd name="T46" fmla="*/ 2147483647 w 612"/>
                <a:gd name="T47" fmla="*/ 2147483647 h 788"/>
                <a:gd name="T48" fmla="*/ 2147483647 w 612"/>
                <a:gd name="T49" fmla="*/ 0 h 788"/>
                <a:gd name="T50" fmla="*/ 2147483647 w 612"/>
                <a:gd name="T51" fmla="*/ 2147483647 h 788"/>
                <a:gd name="T52" fmla="*/ 2147483647 w 612"/>
                <a:gd name="T53" fmla="*/ 2147483647 h 788"/>
                <a:gd name="T54" fmla="*/ 2147483647 w 612"/>
                <a:gd name="T55" fmla="*/ 2147483647 h 788"/>
                <a:gd name="T56" fmla="*/ 2147483647 w 612"/>
                <a:gd name="T57" fmla="*/ 2147483647 h 788"/>
                <a:gd name="T58" fmla="*/ 2147483647 w 612"/>
                <a:gd name="T59" fmla="*/ 2147483647 h 788"/>
                <a:gd name="T60" fmla="*/ 2147483647 w 612"/>
                <a:gd name="T61" fmla="*/ 2147483647 h 788"/>
                <a:gd name="T62" fmla="*/ 2147483647 w 612"/>
                <a:gd name="T63" fmla="*/ 2147483647 h 788"/>
                <a:gd name="T64" fmla="*/ 2147483647 w 612"/>
                <a:gd name="T65" fmla="*/ 2147483647 h 788"/>
                <a:gd name="T66" fmla="*/ 2147483647 w 612"/>
                <a:gd name="T67" fmla="*/ 2147483647 h 788"/>
                <a:gd name="T68" fmla="*/ 2147483647 w 612"/>
                <a:gd name="T69" fmla="*/ 2147483647 h 788"/>
                <a:gd name="T70" fmla="*/ 2147483647 w 612"/>
                <a:gd name="T71" fmla="*/ 2147483647 h 788"/>
                <a:gd name="T72" fmla="*/ 2147483647 w 612"/>
                <a:gd name="T73" fmla="*/ 2147483647 h 788"/>
                <a:gd name="T74" fmla="*/ 2147483647 w 612"/>
                <a:gd name="T75" fmla="*/ 2147483647 h 788"/>
                <a:gd name="T76" fmla="*/ 2147483647 w 612"/>
                <a:gd name="T77" fmla="*/ 2147483647 h 788"/>
                <a:gd name="T78" fmla="*/ 2147483647 w 612"/>
                <a:gd name="T79" fmla="*/ 2147483647 h 788"/>
                <a:gd name="T80" fmla="*/ 2147483647 w 612"/>
                <a:gd name="T81" fmla="*/ 2147483647 h 788"/>
                <a:gd name="T82" fmla="*/ 2147483647 w 612"/>
                <a:gd name="T83" fmla="*/ 2147483647 h 788"/>
                <a:gd name="T84" fmla="*/ 2147483647 w 612"/>
                <a:gd name="T85" fmla="*/ 2147483647 h 788"/>
                <a:gd name="T86" fmla="*/ 2147483647 w 612"/>
                <a:gd name="T87" fmla="*/ 2147483647 h 788"/>
                <a:gd name="T88" fmla="*/ 2147483647 w 612"/>
                <a:gd name="T89" fmla="*/ 2147483647 h 788"/>
                <a:gd name="T90" fmla="*/ 2147483647 w 612"/>
                <a:gd name="T91" fmla="*/ 2147483647 h 788"/>
                <a:gd name="T92" fmla="*/ 2147483647 w 612"/>
                <a:gd name="T93" fmla="*/ 2147483647 h 788"/>
                <a:gd name="T94" fmla="*/ 2147483647 w 612"/>
                <a:gd name="T95" fmla="*/ 2147483647 h 788"/>
                <a:gd name="T96" fmla="*/ 2147483647 w 612"/>
                <a:gd name="T97" fmla="*/ 2147483647 h 788"/>
                <a:gd name="T98" fmla="*/ 2147483647 w 612"/>
                <a:gd name="T99" fmla="*/ 2147483647 h 788"/>
                <a:gd name="T100" fmla="*/ 2147483647 w 612"/>
                <a:gd name="T101" fmla="*/ 2147483647 h 788"/>
                <a:gd name="T102" fmla="*/ 2147483647 w 612"/>
                <a:gd name="T103" fmla="*/ 2147483647 h 788"/>
                <a:gd name="T104" fmla="*/ 2147483647 w 612"/>
                <a:gd name="T105" fmla="*/ 2147483647 h 788"/>
                <a:gd name="T106" fmla="*/ 2147483647 w 612"/>
                <a:gd name="T107" fmla="*/ 2147483647 h 788"/>
                <a:gd name="T108" fmla="*/ 2147483647 w 612"/>
                <a:gd name="T109" fmla="*/ 2147483647 h 788"/>
                <a:gd name="T110" fmla="*/ 2147483647 w 612"/>
                <a:gd name="T111" fmla="*/ 2147483647 h 788"/>
                <a:gd name="T112" fmla="*/ 2147483647 w 612"/>
                <a:gd name="T113" fmla="*/ 2147483647 h 788"/>
                <a:gd name="T114" fmla="*/ 2147483647 w 612"/>
                <a:gd name="T115" fmla="*/ 2147483647 h 788"/>
                <a:gd name="T116" fmla="*/ 2147483647 w 612"/>
                <a:gd name="T117" fmla="*/ 2147483647 h 788"/>
                <a:gd name="T118" fmla="*/ 2147483647 w 612"/>
                <a:gd name="T119" fmla="*/ 2147483647 h 788"/>
                <a:gd name="T120" fmla="*/ 2147483647 w 612"/>
                <a:gd name="T121" fmla="*/ 2147483647 h 788"/>
                <a:gd name="T122" fmla="*/ 2147483647 w 612"/>
                <a:gd name="T123" fmla="*/ 2147483647 h 78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12"/>
                <a:gd name="T187" fmla="*/ 0 h 788"/>
                <a:gd name="T188" fmla="*/ 612 w 612"/>
                <a:gd name="T189" fmla="*/ 788 h 78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12" h="788">
                  <a:moveTo>
                    <a:pt x="62" y="641"/>
                  </a:moveTo>
                  <a:lnTo>
                    <a:pt x="68" y="635"/>
                  </a:lnTo>
                  <a:lnTo>
                    <a:pt x="74" y="635"/>
                  </a:lnTo>
                  <a:lnTo>
                    <a:pt x="79" y="624"/>
                  </a:lnTo>
                  <a:lnTo>
                    <a:pt x="79" y="618"/>
                  </a:lnTo>
                  <a:lnTo>
                    <a:pt x="79" y="613"/>
                  </a:lnTo>
                  <a:lnTo>
                    <a:pt x="74" y="607"/>
                  </a:lnTo>
                  <a:lnTo>
                    <a:pt x="62" y="607"/>
                  </a:lnTo>
                  <a:lnTo>
                    <a:pt x="57" y="607"/>
                  </a:lnTo>
                  <a:lnTo>
                    <a:pt x="51" y="607"/>
                  </a:lnTo>
                  <a:lnTo>
                    <a:pt x="45" y="607"/>
                  </a:lnTo>
                  <a:lnTo>
                    <a:pt x="40" y="607"/>
                  </a:lnTo>
                  <a:lnTo>
                    <a:pt x="40" y="601"/>
                  </a:lnTo>
                  <a:lnTo>
                    <a:pt x="40" y="596"/>
                  </a:lnTo>
                  <a:lnTo>
                    <a:pt x="45" y="596"/>
                  </a:lnTo>
                  <a:lnTo>
                    <a:pt x="51" y="596"/>
                  </a:lnTo>
                  <a:lnTo>
                    <a:pt x="62" y="596"/>
                  </a:lnTo>
                  <a:lnTo>
                    <a:pt x="62" y="590"/>
                  </a:lnTo>
                  <a:lnTo>
                    <a:pt x="62" y="584"/>
                  </a:lnTo>
                  <a:lnTo>
                    <a:pt x="68" y="579"/>
                  </a:lnTo>
                  <a:lnTo>
                    <a:pt x="74" y="573"/>
                  </a:lnTo>
                  <a:lnTo>
                    <a:pt x="79" y="573"/>
                  </a:lnTo>
                  <a:lnTo>
                    <a:pt x="79" y="567"/>
                  </a:lnTo>
                  <a:lnTo>
                    <a:pt x="79" y="562"/>
                  </a:lnTo>
                  <a:lnTo>
                    <a:pt x="79" y="556"/>
                  </a:lnTo>
                  <a:lnTo>
                    <a:pt x="79" y="545"/>
                  </a:lnTo>
                  <a:lnTo>
                    <a:pt x="79" y="539"/>
                  </a:lnTo>
                  <a:lnTo>
                    <a:pt x="79" y="533"/>
                  </a:lnTo>
                  <a:lnTo>
                    <a:pt x="79" y="528"/>
                  </a:lnTo>
                  <a:lnTo>
                    <a:pt x="79" y="522"/>
                  </a:lnTo>
                  <a:lnTo>
                    <a:pt x="79" y="516"/>
                  </a:lnTo>
                  <a:lnTo>
                    <a:pt x="74" y="516"/>
                  </a:lnTo>
                  <a:lnTo>
                    <a:pt x="74" y="522"/>
                  </a:lnTo>
                  <a:lnTo>
                    <a:pt x="62" y="528"/>
                  </a:lnTo>
                  <a:lnTo>
                    <a:pt x="57" y="533"/>
                  </a:lnTo>
                  <a:lnTo>
                    <a:pt x="51" y="539"/>
                  </a:lnTo>
                  <a:lnTo>
                    <a:pt x="45" y="539"/>
                  </a:lnTo>
                  <a:lnTo>
                    <a:pt x="40" y="539"/>
                  </a:lnTo>
                  <a:lnTo>
                    <a:pt x="34" y="539"/>
                  </a:lnTo>
                  <a:lnTo>
                    <a:pt x="23" y="539"/>
                  </a:lnTo>
                  <a:lnTo>
                    <a:pt x="17" y="539"/>
                  </a:lnTo>
                  <a:lnTo>
                    <a:pt x="11" y="533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0" y="516"/>
                  </a:lnTo>
                  <a:lnTo>
                    <a:pt x="0" y="511"/>
                  </a:lnTo>
                  <a:lnTo>
                    <a:pt x="6" y="511"/>
                  </a:lnTo>
                  <a:lnTo>
                    <a:pt x="6" y="494"/>
                  </a:lnTo>
                  <a:lnTo>
                    <a:pt x="6" y="488"/>
                  </a:lnTo>
                  <a:lnTo>
                    <a:pt x="11" y="482"/>
                  </a:lnTo>
                  <a:lnTo>
                    <a:pt x="23" y="477"/>
                  </a:lnTo>
                  <a:lnTo>
                    <a:pt x="28" y="471"/>
                  </a:lnTo>
                  <a:lnTo>
                    <a:pt x="34" y="471"/>
                  </a:lnTo>
                  <a:lnTo>
                    <a:pt x="40" y="465"/>
                  </a:lnTo>
                  <a:lnTo>
                    <a:pt x="45" y="460"/>
                  </a:lnTo>
                  <a:lnTo>
                    <a:pt x="51" y="460"/>
                  </a:lnTo>
                  <a:lnTo>
                    <a:pt x="62" y="454"/>
                  </a:lnTo>
                  <a:lnTo>
                    <a:pt x="62" y="448"/>
                  </a:lnTo>
                  <a:lnTo>
                    <a:pt x="62" y="443"/>
                  </a:lnTo>
                  <a:lnTo>
                    <a:pt x="62" y="431"/>
                  </a:lnTo>
                  <a:lnTo>
                    <a:pt x="62" y="420"/>
                  </a:lnTo>
                  <a:lnTo>
                    <a:pt x="68" y="414"/>
                  </a:lnTo>
                  <a:lnTo>
                    <a:pt x="68" y="403"/>
                  </a:lnTo>
                  <a:lnTo>
                    <a:pt x="74" y="392"/>
                  </a:lnTo>
                  <a:lnTo>
                    <a:pt x="74" y="386"/>
                  </a:lnTo>
                  <a:lnTo>
                    <a:pt x="79" y="375"/>
                  </a:lnTo>
                  <a:lnTo>
                    <a:pt x="79" y="369"/>
                  </a:lnTo>
                  <a:lnTo>
                    <a:pt x="85" y="363"/>
                  </a:lnTo>
                  <a:lnTo>
                    <a:pt x="91" y="358"/>
                  </a:lnTo>
                  <a:lnTo>
                    <a:pt x="91" y="352"/>
                  </a:lnTo>
                  <a:lnTo>
                    <a:pt x="102" y="346"/>
                  </a:lnTo>
                  <a:lnTo>
                    <a:pt x="108" y="341"/>
                  </a:lnTo>
                  <a:lnTo>
                    <a:pt x="108" y="335"/>
                  </a:lnTo>
                  <a:lnTo>
                    <a:pt x="113" y="335"/>
                  </a:lnTo>
                  <a:lnTo>
                    <a:pt x="119" y="329"/>
                  </a:lnTo>
                  <a:lnTo>
                    <a:pt x="125" y="329"/>
                  </a:lnTo>
                  <a:lnTo>
                    <a:pt x="125" y="324"/>
                  </a:lnTo>
                  <a:lnTo>
                    <a:pt x="130" y="318"/>
                  </a:lnTo>
                  <a:lnTo>
                    <a:pt x="136" y="318"/>
                  </a:lnTo>
                  <a:lnTo>
                    <a:pt x="136" y="312"/>
                  </a:lnTo>
                  <a:lnTo>
                    <a:pt x="142" y="312"/>
                  </a:lnTo>
                  <a:lnTo>
                    <a:pt x="153" y="312"/>
                  </a:lnTo>
                  <a:lnTo>
                    <a:pt x="159" y="307"/>
                  </a:lnTo>
                  <a:lnTo>
                    <a:pt x="164" y="307"/>
                  </a:lnTo>
                  <a:lnTo>
                    <a:pt x="170" y="307"/>
                  </a:lnTo>
                  <a:lnTo>
                    <a:pt x="170" y="301"/>
                  </a:lnTo>
                  <a:lnTo>
                    <a:pt x="170" y="295"/>
                  </a:lnTo>
                  <a:lnTo>
                    <a:pt x="170" y="290"/>
                  </a:lnTo>
                  <a:lnTo>
                    <a:pt x="170" y="284"/>
                  </a:lnTo>
                  <a:lnTo>
                    <a:pt x="170" y="278"/>
                  </a:lnTo>
                  <a:lnTo>
                    <a:pt x="170" y="267"/>
                  </a:lnTo>
                  <a:lnTo>
                    <a:pt x="170" y="261"/>
                  </a:lnTo>
                  <a:lnTo>
                    <a:pt x="176" y="261"/>
                  </a:lnTo>
                  <a:lnTo>
                    <a:pt x="181" y="261"/>
                  </a:lnTo>
                  <a:lnTo>
                    <a:pt x="187" y="261"/>
                  </a:lnTo>
                  <a:lnTo>
                    <a:pt x="193" y="261"/>
                  </a:lnTo>
                  <a:lnTo>
                    <a:pt x="199" y="261"/>
                  </a:lnTo>
                  <a:lnTo>
                    <a:pt x="204" y="261"/>
                  </a:lnTo>
                  <a:lnTo>
                    <a:pt x="210" y="256"/>
                  </a:lnTo>
                  <a:lnTo>
                    <a:pt x="216" y="256"/>
                  </a:lnTo>
                  <a:lnTo>
                    <a:pt x="216" y="250"/>
                  </a:lnTo>
                  <a:lnTo>
                    <a:pt x="216" y="244"/>
                  </a:lnTo>
                  <a:lnTo>
                    <a:pt x="216" y="239"/>
                  </a:lnTo>
                  <a:lnTo>
                    <a:pt x="210" y="239"/>
                  </a:lnTo>
                  <a:lnTo>
                    <a:pt x="204" y="233"/>
                  </a:lnTo>
                  <a:lnTo>
                    <a:pt x="204" y="227"/>
                  </a:lnTo>
                  <a:lnTo>
                    <a:pt x="204" y="222"/>
                  </a:lnTo>
                  <a:lnTo>
                    <a:pt x="204" y="210"/>
                  </a:lnTo>
                  <a:lnTo>
                    <a:pt x="204" y="205"/>
                  </a:lnTo>
                  <a:lnTo>
                    <a:pt x="204" y="199"/>
                  </a:lnTo>
                  <a:lnTo>
                    <a:pt x="204" y="193"/>
                  </a:lnTo>
                  <a:lnTo>
                    <a:pt x="199" y="188"/>
                  </a:lnTo>
                  <a:lnTo>
                    <a:pt x="199" y="176"/>
                  </a:lnTo>
                  <a:lnTo>
                    <a:pt x="199" y="165"/>
                  </a:lnTo>
                  <a:lnTo>
                    <a:pt x="199" y="159"/>
                  </a:lnTo>
                  <a:lnTo>
                    <a:pt x="199" y="148"/>
                  </a:lnTo>
                  <a:lnTo>
                    <a:pt x="199" y="142"/>
                  </a:lnTo>
                  <a:lnTo>
                    <a:pt x="204" y="142"/>
                  </a:lnTo>
                  <a:lnTo>
                    <a:pt x="204" y="137"/>
                  </a:lnTo>
                  <a:lnTo>
                    <a:pt x="204" y="125"/>
                  </a:lnTo>
                  <a:lnTo>
                    <a:pt x="204" y="120"/>
                  </a:lnTo>
                  <a:lnTo>
                    <a:pt x="204" y="114"/>
                  </a:lnTo>
                  <a:lnTo>
                    <a:pt x="199" y="108"/>
                  </a:lnTo>
                  <a:lnTo>
                    <a:pt x="199" y="97"/>
                  </a:lnTo>
                  <a:lnTo>
                    <a:pt x="199" y="91"/>
                  </a:lnTo>
                  <a:lnTo>
                    <a:pt x="204" y="85"/>
                  </a:lnTo>
                  <a:lnTo>
                    <a:pt x="204" y="80"/>
                  </a:lnTo>
                  <a:lnTo>
                    <a:pt x="204" y="74"/>
                  </a:lnTo>
                  <a:lnTo>
                    <a:pt x="210" y="74"/>
                  </a:lnTo>
                  <a:lnTo>
                    <a:pt x="210" y="68"/>
                  </a:lnTo>
                  <a:lnTo>
                    <a:pt x="216" y="68"/>
                  </a:lnTo>
                  <a:lnTo>
                    <a:pt x="216" y="63"/>
                  </a:lnTo>
                  <a:lnTo>
                    <a:pt x="221" y="63"/>
                  </a:lnTo>
                  <a:lnTo>
                    <a:pt x="221" y="57"/>
                  </a:lnTo>
                  <a:lnTo>
                    <a:pt x="227" y="57"/>
                  </a:lnTo>
                  <a:lnTo>
                    <a:pt x="233" y="57"/>
                  </a:lnTo>
                  <a:lnTo>
                    <a:pt x="233" y="51"/>
                  </a:lnTo>
                  <a:lnTo>
                    <a:pt x="238" y="51"/>
                  </a:lnTo>
                  <a:lnTo>
                    <a:pt x="244" y="51"/>
                  </a:lnTo>
                  <a:lnTo>
                    <a:pt x="244" y="46"/>
                  </a:lnTo>
                  <a:lnTo>
                    <a:pt x="250" y="40"/>
                  </a:lnTo>
                  <a:lnTo>
                    <a:pt x="250" y="34"/>
                  </a:lnTo>
                  <a:lnTo>
                    <a:pt x="250" y="29"/>
                  </a:lnTo>
                  <a:lnTo>
                    <a:pt x="255" y="29"/>
                  </a:lnTo>
                  <a:lnTo>
                    <a:pt x="255" y="23"/>
                  </a:lnTo>
                  <a:lnTo>
                    <a:pt x="261" y="23"/>
                  </a:lnTo>
                  <a:lnTo>
                    <a:pt x="267" y="29"/>
                  </a:lnTo>
                  <a:lnTo>
                    <a:pt x="272" y="29"/>
                  </a:lnTo>
                  <a:lnTo>
                    <a:pt x="278" y="29"/>
                  </a:lnTo>
                  <a:lnTo>
                    <a:pt x="278" y="23"/>
                  </a:lnTo>
                  <a:lnTo>
                    <a:pt x="284" y="23"/>
                  </a:lnTo>
                  <a:lnTo>
                    <a:pt x="289" y="17"/>
                  </a:lnTo>
                  <a:lnTo>
                    <a:pt x="295" y="17"/>
                  </a:lnTo>
                  <a:lnTo>
                    <a:pt x="301" y="17"/>
                  </a:lnTo>
                  <a:lnTo>
                    <a:pt x="301" y="23"/>
                  </a:lnTo>
                  <a:lnTo>
                    <a:pt x="306" y="29"/>
                  </a:lnTo>
                  <a:lnTo>
                    <a:pt x="312" y="29"/>
                  </a:lnTo>
                  <a:lnTo>
                    <a:pt x="312" y="34"/>
                  </a:lnTo>
                  <a:lnTo>
                    <a:pt x="318" y="40"/>
                  </a:lnTo>
                  <a:lnTo>
                    <a:pt x="323" y="40"/>
                  </a:lnTo>
                  <a:lnTo>
                    <a:pt x="329" y="40"/>
                  </a:lnTo>
                  <a:lnTo>
                    <a:pt x="335" y="46"/>
                  </a:lnTo>
                  <a:lnTo>
                    <a:pt x="340" y="46"/>
                  </a:lnTo>
                  <a:lnTo>
                    <a:pt x="352" y="46"/>
                  </a:lnTo>
                  <a:lnTo>
                    <a:pt x="357" y="40"/>
                  </a:lnTo>
                  <a:lnTo>
                    <a:pt x="363" y="40"/>
                  </a:lnTo>
                  <a:lnTo>
                    <a:pt x="369" y="34"/>
                  </a:lnTo>
                  <a:lnTo>
                    <a:pt x="369" y="29"/>
                  </a:lnTo>
                  <a:lnTo>
                    <a:pt x="369" y="23"/>
                  </a:lnTo>
                  <a:lnTo>
                    <a:pt x="369" y="12"/>
                  </a:lnTo>
                  <a:lnTo>
                    <a:pt x="374" y="12"/>
                  </a:lnTo>
                  <a:lnTo>
                    <a:pt x="374" y="6"/>
                  </a:lnTo>
                  <a:lnTo>
                    <a:pt x="380" y="6"/>
                  </a:lnTo>
                  <a:lnTo>
                    <a:pt x="386" y="0"/>
                  </a:lnTo>
                  <a:lnTo>
                    <a:pt x="391" y="0"/>
                  </a:lnTo>
                  <a:lnTo>
                    <a:pt x="397" y="0"/>
                  </a:lnTo>
                  <a:lnTo>
                    <a:pt x="403" y="0"/>
                  </a:lnTo>
                  <a:lnTo>
                    <a:pt x="408" y="0"/>
                  </a:lnTo>
                  <a:lnTo>
                    <a:pt x="408" y="6"/>
                  </a:lnTo>
                  <a:lnTo>
                    <a:pt x="414" y="6"/>
                  </a:lnTo>
                  <a:lnTo>
                    <a:pt x="420" y="12"/>
                  </a:lnTo>
                  <a:lnTo>
                    <a:pt x="425" y="17"/>
                  </a:lnTo>
                  <a:lnTo>
                    <a:pt x="425" y="23"/>
                  </a:lnTo>
                  <a:lnTo>
                    <a:pt x="420" y="29"/>
                  </a:lnTo>
                  <a:lnTo>
                    <a:pt x="420" y="40"/>
                  </a:lnTo>
                  <a:lnTo>
                    <a:pt x="425" y="40"/>
                  </a:lnTo>
                  <a:lnTo>
                    <a:pt x="425" y="34"/>
                  </a:lnTo>
                  <a:lnTo>
                    <a:pt x="431" y="34"/>
                  </a:lnTo>
                  <a:lnTo>
                    <a:pt x="437" y="34"/>
                  </a:lnTo>
                  <a:lnTo>
                    <a:pt x="437" y="29"/>
                  </a:lnTo>
                  <a:lnTo>
                    <a:pt x="442" y="29"/>
                  </a:lnTo>
                  <a:lnTo>
                    <a:pt x="448" y="29"/>
                  </a:lnTo>
                  <a:lnTo>
                    <a:pt x="454" y="29"/>
                  </a:lnTo>
                  <a:lnTo>
                    <a:pt x="454" y="23"/>
                  </a:lnTo>
                  <a:lnTo>
                    <a:pt x="459" y="23"/>
                  </a:lnTo>
                  <a:lnTo>
                    <a:pt x="465" y="23"/>
                  </a:lnTo>
                  <a:lnTo>
                    <a:pt x="465" y="29"/>
                  </a:lnTo>
                  <a:lnTo>
                    <a:pt x="471" y="29"/>
                  </a:lnTo>
                  <a:lnTo>
                    <a:pt x="471" y="40"/>
                  </a:lnTo>
                  <a:lnTo>
                    <a:pt x="465" y="46"/>
                  </a:lnTo>
                  <a:lnTo>
                    <a:pt x="459" y="46"/>
                  </a:lnTo>
                  <a:lnTo>
                    <a:pt x="459" y="51"/>
                  </a:lnTo>
                  <a:lnTo>
                    <a:pt x="454" y="51"/>
                  </a:lnTo>
                  <a:lnTo>
                    <a:pt x="454" y="57"/>
                  </a:lnTo>
                  <a:lnTo>
                    <a:pt x="448" y="57"/>
                  </a:lnTo>
                  <a:lnTo>
                    <a:pt x="448" y="63"/>
                  </a:lnTo>
                  <a:lnTo>
                    <a:pt x="448" y="68"/>
                  </a:lnTo>
                  <a:lnTo>
                    <a:pt x="448" y="74"/>
                  </a:lnTo>
                  <a:lnTo>
                    <a:pt x="448" y="80"/>
                  </a:lnTo>
                  <a:lnTo>
                    <a:pt x="454" y="85"/>
                  </a:lnTo>
                  <a:lnTo>
                    <a:pt x="454" y="91"/>
                  </a:lnTo>
                  <a:lnTo>
                    <a:pt x="459" y="91"/>
                  </a:lnTo>
                  <a:lnTo>
                    <a:pt x="465" y="97"/>
                  </a:lnTo>
                  <a:lnTo>
                    <a:pt x="471" y="97"/>
                  </a:lnTo>
                  <a:lnTo>
                    <a:pt x="476" y="97"/>
                  </a:lnTo>
                  <a:lnTo>
                    <a:pt x="476" y="102"/>
                  </a:lnTo>
                  <a:lnTo>
                    <a:pt x="482" y="102"/>
                  </a:lnTo>
                  <a:lnTo>
                    <a:pt x="482" y="108"/>
                  </a:lnTo>
                  <a:lnTo>
                    <a:pt x="488" y="108"/>
                  </a:lnTo>
                  <a:lnTo>
                    <a:pt x="493" y="108"/>
                  </a:lnTo>
                  <a:lnTo>
                    <a:pt x="499" y="108"/>
                  </a:lnTo>
                  <a:lnTo>
                    <a:pt x="505" y="108"/>
                  </a:lnTo>
                  <a:lnTo>
                    <a:pt x="505" y="114"/>
                  </a:lnTo>
                  <a:lnTo>
                    <a:pt x="510" y="114"/>
                  </a:lnTo>
                  <a:lnTo>
                    <a:pt x="522" y="114"/>
                  </a:lnTo>
                  <a:lnTo>
                    <a:pt x="522" y="120"/>
                  </a:lnTo>
                  <a:lnTo>
                    <a:pt x="527" y="120"/>
                  </a:lnTo>
                  <a:lnTo>
                    <a:pt x="539" y="114"/>
                  </a:lnTo>
                  <a:lnTo>
                    <a:pt x="556" y="114"/>
                  </a:lnTo>
                  <a:lnTo>
                    <a:pt x="561" y="114"/>
                  </a:lnTo>
                  <a:lnTo>
                    <a:pt x="567" y="114"/>
                  </a:lnTo>
                  <a:lnTo>
                    <a:pt x="567" y="120"/>
                  </a:lnTo>
                  <a:lnTo>
                    <a:pt x="567" y="125"/>
                  </a:lnTo>
                  <a:lnTo>
                    <a:pt x="561" y="137"/>
                  </a:lnTo>
                  <a:lnTo>
                    <a:pt x="561" y="142"/>
                  </a:lnTo>
                  <a:lnTo>
                    <a:pt x="567" y="148"/>
                  </a:lnTo>
                  <a:lnTo>
                    <a:pt x="567" y="154"/>
                  </a:lnTo>
                  <a:lnTo>
                    <a:pt x="573" y="154"/>
                  </a:lnTo>
                  <a:lnTo>
                    <a:pt x="578" y="159"/>
                  </a:lnTo>
                  <a:lnTo>
                    <a:pt x="578" y="165"/>
                  </a:lnTo>
                  <a:lnTo>
                    <a:pt x="584" y="165"/>
                  </a:lnTo>
                  <a:lnTo>
                    <a:pt x="584" y="171"/>
                  </a:lnTo>
                  <a:lnTo>
                    <a:pt x="590" y="176"/>
                  </a:lnTo>
                  <a:lnTo>
                    <a:pt x="595" y="176"/>
                  </a:lnTo>
                  <a:lnTo>
                    <a:pt x="595" y="182"/>
                  </a:lnTo>
                  <a:lnTo>
                    <a:pt x="601" y="182"/>
                  </a:lnTo>
                  <a:lnTo>
                    <a:pt x="612" y="188"/>
                  </a:lnTo>
                  <a:lnTo>
                    <a:pt x="607" y="188"/>
                  </a:lnTo>
                  <a:lnTo>
                    <a:pt x="607" y="193"/>
                  </a:lnTo>
                  <a:lnTo>
                    <a:pt x="601" y="193"/>
                  </a:lnTo>
                  <a:lnTo>
                    <a:pt x="601" y="199"/>
                  </a:lnTo>
                  <a:lnTo>
                    <a:pt x="595" y="205"/>
                  </a:lnTo>
                  <a:lnTo>
                    <a:pt x="590" y="205"/>
                  </a:lnTo>
                  <a:lnTo>
                    <a:pt x="584" y="205"/>
                  </a:lnTo>
                  <a:lnTo>
                    <a:pt x="584" y="210"/>
                  </a:lnTo>
                  <a:lnTo>
                    <a:pt x="578" y="210"/>
                  </a:lnTo>
                  <a:lnTo>
                    <a:pt x="578" y="216"/>
                  </a:lnTo>
                  <a:lnTo>
                    <a:pt x="578" y="222"/>
                  </a:lnTo>
                  <a:lnTo>
                    <a:pt x="578" y="227"/>
                  </a:lnTo>
                  <a:lnTo>
                    <a:pt x="584" y="227"/>
                  </a:lnTo>
                  <a:lnTo>
                    <a:pt x="584" y="233"/>
                  </a:lnTo>
                  <a:lnTo>
                    <a:pt x="590" y="233"/>
                  </a:lnTo>
                  <a:lnTo>
                    <a:pt x="590" y="239"/>
                  </a:lnTo>
                  <a:lnTo>
                    <a:pt x="584" y="239"/>
                  </a:lnTo>
                  <a:lnTo>
                    <a:pt x="584" y="244"/>
                  </a:lnTo>
                  <a:lnTo>
                    <a:pt x="584" y="250"/>
                  </a:lnTo>
                  <a:lnTo>
                    <a:pt x="584" y="256"/>
                  </a:lnTo>
                  <a:lnTo>
                    <a:pt x="584" y="261"/>
                  </a:lnTo>
                  <a:lnTo>
                    <a:pt x="584" y="267"/>
                  </a:lnTo>
                  <a:lnTo>
                    <a:pt x="584" y="273"/>
                  </a:lnTo>
                  <a:lnTo>
                    <a:pt x="578" y="273"/>
                  </a:lnTo>
                  <a:lnTo>
                    <a:pt x="573" y="278"/>
                  </a:lnTo>
                  <a:lnTo>
                    <a:pt x="567" y="278"/>
                  </a:lnTo>
                  <a:lnTo>
                    <a:pt x="567" y="284"/>
                  </a:lnTo>
                  <a:lnTo>
                    <a:pt x="567" y="290"/>
                  </a:lnTo>
                  <a:lnTo>
                    <a:pt x="561" y="301"/>
                  </a:lnTo>
                  <a:lnTo>
                    <a:pt x="556" y="301"/>
                  </a:lnTo>
                  <a:lnTo>
                    <a:pt x="556" y="307"/>
                  </a:lnTo>
                  <a:lnTo>
                    <a:pt x="556" y="312"/>
                  </a:lnTo>
                  <a:lnTo>
                    <a:pt x="556" y="318"/>
                  </a:lnTo>
                  <a:lnTo>
                    <a:pt x="556" y="324"/>
                  </a:lnTo>
                  <a:lnTo>
                    <a:pt x="550" y="329"/>
                  </a:lnTo>
                  <a:lnTo>
                    <a:pt x="550" y="335"/>
                  </a:lnTo>
                  <a:lnTo>
                    <a:pt x="550" y="341"/>
                  </a:lnTo>
                  <a:lnTo>
                    <a:pt x="544" y="352"/>
                  </a:lnTo>
                  <a:lnTo>
                    <a:pt x="544" y="358"/>
                  </a:lnTo>
                  <a:lnTo>
                    <a:pt x="539" y="358"/>
                  </a:lnTo>
                  <a:lnTo>
                    <a:pt x="539" y="363"/>
                  </a:lnTo>
                  <a:lnTo>
                    <a:pt x="533" y="369"/>
                  </a:lnTo>
                  <a:lnTo>
                    <a:pt x="533" y="375"/>
                  </a:lnTo>
                  <a:lnTo>
                    <a:pt x="527" y="375"/>
                  </a:lnTo>
                  <a:lnTo>
                    <a:pt x="527" y="380"/>
                  </a:lnTo>
                  <a:lnTo>
                    <a:pt x="522" y="386"/>
                  </a:lnTo>
                  <a:lnTo>
                    <a:pt x="522" y="392"/>
                  </a:lnTo>
                  <a:lnTo>
                    <a:pt x="522" y="397"/>
                  </a:lnTo>
                  <a:lnTo>
                    <a:pt x="522" y="403"/>
                  </a:lnTo>
                  <a:lnTo>
                    <a:pt x="522" y="409"/>
                  </a:lnTo>
                  <a:lnTo>
                    <a:pt x="522" y="414"/>
                  </a:lnTo>
                  <a:lnTo>
                    <a:pt x="522" y="420"/>
                  </a:lnTo>
                  <a:lnTo>
                    <a:pt x="516" y="426"/>
                  </a:lnTo>
                  <a:lnTo>
                    <a:pt x="510" y="431"/>
                  </a:lnTo>
                  <a:lnTo>
                    <a:pt x="510" y="437"/>
                  </a:lnTo>
                  <a:lnTo>
                    <a:pt x="510" y="443"/>
                  </a:lnTo>
                  <a:lnTo>
                    <a:pt x="505" y="443"/>
                  </a:lnTo>
                  <a:lnTo>
                    <a:pt x="499" y="443"/>
                  </a:lnTo>
                  <a:lnTo>
                    <a:pt x="499" y="448"/>
                  </a:lnTo>
                  <a:lnTo>
                    <a:pt x="499" y="454"/>
                  </a:lnTo>
                  <a:lnTo>
                    <a:pt x="499" y="460"/>
                  </a:lnTo>
                  <a:lnTo>
                    <a:pt x="499" y="465"/>
                  </a:lnTo>
                  <a:lnTo>
                    <a:pt x="499" y="471"/>
                  </a:lnTo>
                  <a:lnTo>
                    <a:pt x="493" y="471"/>
                  </a:lnTo>
                  <a:lnTo>
                    <a:pt x="493" y="477"/>
                  </a:lnTo>
                  <a:lnTo>
                    <a:pt x="488" y="482"/>
                  </a:lnTo>
                  <a:lnTo>
                    <a:pt x="482" y="488"/>
                  </a:lnTo>
                  <a:lnTo>
                    <a:pt x="476" y="488"/>
                  </a:lnTo>
                  <a:lnTo>
                    <a:pt x="471" y="482"/>
                  </a:lnTo>
                  <a:lnTo>
                    <a:pt x="465" y="477"/>
                  </a:lnTo>
                  <a:lnTo>
                    <a:pt x="459" y="482"/>
                  </a:lnTo>
                  <a:lnTo>
                    <a:pt x="454" y="482"/>
                  </a:lnTo>
                  <a:lnTo>
                    <a:pt x="448" y="482"/>
                  </a:lnTo>
                  <a:lnTo>
                    <a:pt x="448" y="488"/>
                  </a:lnTo>
                  <a:lnTo>
                    <a:pt x="442" y="488"/>
                  </a:lnTo>
                  <a:lnTo>
                    <a:pt x="442" y="494"/>
                  </a:lnTo>
                  <a:lnTo>
                    <a:pt x="437" y="494"/>
                  </a:lnTo>
                  <a:lnTo>
                    <a:pt x="437" y="488"/>
                  </a:lnTo>
                  <a:lnTo>
                    <a:pt x="431" y="482"/>
                  </a:lnTo>
                  <a:lnTo>
                    <a:pt x="431" y="477"/>
                  </a:lnTo>
                  <a:lnTo>
                    <a:pt x="425" y="471"/>
                  </a:lnTo>
                  <a:lnTo>
                    <a:pt x="425" y="465"/>
                  </a:lnTo>
                  <a:lnTo>
                    <a:pt x="420" y="460"/>
                  </a:lnTo>
                  <a:lnTo>
                    <a:pt x="420" y="454"/>
                  </a:lnTo>
                  <a:lnTo>
                    <a:pt x="425" y="454"/>
                  </a:lnTo>
                  <a:lnTo>
                    <a:pt x="437" y="454"/>
                  </a:lnTo>
                  <a:lnTo>
                    <a:pt x="437" y="448"/>
                  </a:lnTo>
                  <a:lnTo>
                    <a:pt x="437" y="443"/>
                  </a:lnTo>
                  <a:lnTo>
                    <a:pt x="431" y="443"/>
                  </a:lnTo>
                  <a:lnTo>
                    <a:pt x="425" y="443"/>
                  </a:lnTo>
                  <a:lnTo>
                    <a:pt x="425" y="437"/>
                  </a:lnTo>
                  <a:lnTo>
                    <a:pt x="414" y="437"/>
                  </a:lnTo>
                  <a:lnTo>
                    <a:pt x="403" y="437"/>
                  </a:lnTo>
                  <a:lnTo>
                    <a:pt x="397" y="437"/>
                  </a:lnTo>
                  <a:lnTo>
                    <a:pt x="386" y="437"/>
                  </a:lnTo>
                  <a:lnTo>
                    <a:pt x="374" y="437"/>
                  </a:lnTo>
                  <a:lnTo>
                    <a:pt x="346" y="431"/>
                  </a:lnTo>
                  <a:lnTo>
                    <a:pt x="335" y="431"/>
                  </a:lnTo>
                  <a:lnTo>
                    <a:pt x="329" y="431"/>
                  </a:lnTo>
                  <a:lnTo>
                    <a:pt x="323" y="431"/>
                  </a:lnTo>
                  <a:lnTo>
                    <a:pt x="318" y="443"/>
                  </a:lnTo>
                  <a:lnTo>
                    <a:pt x="312" y="448"/>
                  </a:lnTo>
                  <a:lnTo>
                    <a:pt x="312" y="454"/>
                  </a:lnTo>
                  <a:lnTo>
                    <a:pt x="306" y="460"/>
                  </a:lnTo>
                  <a:lnTo>
                    <a:pt x="301" y="460"/>
                  </a:lnTo>
                  <a:lnTo>
                    <a:pt x="301" y="471"/>
                  </a:lnTo>
                  <a:lnTo>
                    <a:pt x="301" y="477"/>
                  </a:lnTo>
                  <a:lnTo>
                    <a:pt x="295" y="477"/>
                  </a:lnTo>
                  <a:lnTo>
                    <a:pt x="295" y="482"/>
                  </a:lnTo>
                  <a:lnTo>
                    <a:pt x="289" y="482"/>
                  </a:lnTo>
                  <a:lnTo>
                    <a:pt x="284" y="482"/>
                  </a:lnTo>
                  <a:lnTo>
                    <a:pt x="284" y="488"/>
                  </a:lnTo>
                  <a:lnTo>
                    <a:pt x="284" y="499"/>
                  </a:lnTo>
                  <a:lnTo>
                    <a:pt x="278" y="499"/>
                  </a:lnTo>
                  <a:lnTo>
                    <a:pt x="278" y="511"/>
                  </a:lnTo>
                  <a:lnTo>
                    <a:pt x="272" y="516"/>
                  </a:lnTo>
                  <a:lnTo>
                    <a:pt x="272" y="528"/>
                  </a:lnTo>
                  <a:lnTo>
                    <a:pt x="272" y="533"/>
                  </a:lnTo>
                  <a:lnTo>
                    <a:pt x="278" y="539"/>
                  </a:lnTo>
                  <a:lnTo>
                    <a:pt x="284" y="539"/>
                  </a:lnTo>
                  <a:lnTo>
                    <a:pt x="284" y="545"/>
                  </a:lnTo>
                  <a:lnTo>
                    <a:pt x="289" y="545"/>
                  </a:lnTo>
                  <a:lnTo>
                    <a:pt x="289" y="550"/>
                  </a:lnTo>
                  <a:lnTo>
                    <a:pt x="289" y="556"/>
                  </a:lnTo>
                  <a:lnTo>
                    <a:pt x="289" y="562"/>
                  </a:lnTo>
                  <a:lnTo>
                    <a:pt x="284" y="567"/>
                  </a:lnTo>
                  <a:lnTo>
                    <a:pt x="284" y="573"/>
                  </a:lnTo>
                  <a:lnTo>
                    <a:pt x="278" y="579"/>
                  </a:lnTo>
                  <a:lnTo>
                    <a:pt x="272" y="584"/>
                  </a:lnTo>
                  <a:lnTo>
                    <a:pt x="272" y="590"/>
                  </a:lnTo>
                  <a:lnTo>
                    <a:pt x="267" y="596"/>
                  </a:lnTo>
                  <a:lnTo>
                    <a:pt x="267" y="601"/>
                  </a:lnTo>
                  <a:lnTo>
                    <a:pt x="267" y="607"/>
                  </a:lnTo>
                  <a:lnTo>
                    <a:pt x="261" y="613"/>
                  </a:lnTo>
                  <a:lnTo>
                    <a:pt x="261" y="618"/>
                  </a:lnTo>
                  <a:lnTo>
                    <a:pt x="255" y="618"/>
                  </a:lnTo>
                  <a:lnTo>
                    <a:pt x="244" y="618"/>
                  </a:lnTo>
                  <a:lnTo>
                    <a:pt x="244" y="624"/>
                  </a:lnTo>
                  <a:lnTo>
                    <a:pt x="244" y="630"/>
                  </a:lnTo>
                  <a:lnTo>
                    <a:pt x="244" y="635"/>
                  </a:lnTo>
                  <a:lnTo>
                    <a:pt x="238" y="635"/>
                  </a:lnTo>
                  <a:lnTo>
                    <a:pt x="238" y="641"/>
                  </a:lnTo>
                  <a:lnTo>
                    <a:pt x="238" y="647"/>
                  </a:lnTo>
                  <a:lnTo>
                    <a:pt x="238" y="652"/>
                  </a:lnTo>
                  <a:lnTo>
                    <a:pt x="244" y="658"/>
                  </a:lnTo>
                  <a:lnTo>
                    <a:pt x="244" y="664"/>
                  </a:lnTo>
                  <a:lnTo>
                    <a:pt x="250" y="664"/>
                  </a:lnTo>
                  <a:lnTo>
                    <a:pt x="250" y="669"/>
                  </a:lnTo>
                  <a:lnTo>
                    <a:pt x="255" y="669"/>
                  </a:lnTo>
                  <a:lnTo>
                    <a:pt x="261" y="669"/>
                  </a:lnTo>
                  <a:lnTo>
                    <a:pt x="267" y="675"/>
                  </a:lnTo>
                  <a:lnTo>
                    <a:pt x="272" y="681"/>
                  </a:lnTo>
                  <a:lnTo>
                    <a:pt x="278" y="686"/>
                  </a:lnTo>
                  <a:lnTo>
                    <a:pt x="278" y="692"/>
                  </a:lnTo>
                  <a:lnTo>
                    <a:pt x="272" y="692"/>
                  </a:lnTo>
                  <a:lnTo>
                    <a:pt x="272" y="698"/>
                  </a:lnTo>
                  <a:lnTo>
                    <a:pt x="267" y="698"/>
                  </a:lnTo>
                  <a:lnTo>
                    <a:pt x="267" y="703"/>
                  </a:lnTo>
                  <a:lnTo>
                    <a:pt x="261" y="703"/>
                  </a:lnTo>
                  <a:lnTo>
                    <a:pt x="261" y="709"/>
                  </a:lnTo>
                  <a:lnTo>
                    <a:pt x="261" y="720"/>
                  </a:lnTo>
                  <a:lnTo>
                    <a:pt x="255" y="720"/>
                  </a:lnTo>
                  <a:lnTo>
                    <a:pt x="255" y="726"/>
                  </a:lnTo>
                  <a:lnTo>
                    <a:pt x="250" y="732"/>
                  </a:lnTo>
                  <a:lnTo>
                    <a:pt x="250" y="737"/>
                  </a:lnTo>
                  <a:lnTo>
                    <a:pt x="250" y="743"/>
                  </a:lnTo>
                  <a:lnTo>
                    <a:pt x="244" y="749"/>
                  </a:lnTo>
                  <a:lnTo>
                    <a:pt x="238" y="754"/>
                  </a:lnTo>
                  <a:lnTo>
                    <a:pt x="238" y="760"/>
                  </a:lnTo>
                  <a:lnTo>
                    <a:pt x="238" y="766"/>
                  </a:lnTo>
                  <a:lnTo>
                    <a:pt x="233" y="771"/>
                  </a:lnTo>
                  <a:lnTo>
                    <a:pt x="221" y="783"/>
                  </a:lnTo>
                  <a:lnTo>
                    <a:pt x="221" y="788"/>
                  </a:lnTo>
                  <a:lnTo>
                    <a:pt x="216" y="777"/>
                  </a:lnTo>
                  <a:lnTo>
                    <a:pt x="204" y="766"/>
                  </a:lnTo>
                  <a:lnTo>
                    <a:pt x="204" y="760"/>
                  </a:lnTo>
                  <a:lnTo>
                    <a:pt x="199" y="754"/>
                  </a:lnTo>
                  <a:lnTo>
                    <a:pt x="187" y="743"/>
                  </a:lnTo>
                  <a:lnTo>
                    <a:pt x="176" y="732"/>
                  </a:lnTo>
                  <a:lnTo>
                    <a:pt x="170" y="726"/>
                  </a:lnTo>
                  <a:lnTo>
                    <a:pt x="159" y="715"/>
                  </a:lnTo>
                  <a:lnTo>
                    <a:pt x="153" y="715"/>
                  </a:lnTo>
                  <a:lnTo>
                    <a:pt x="147" y="703"/>
                  </a:lnTo>
                  <a:lnTo>
                    <a:pt x="142" y="703"/>
                  </a:lnTo>
                  <a:lnTo>
                    <a:pt x="142" y="698"/>
                  </a:lnTo>
                  <a:lnTo>
                    <a:pt x="119" y="681"/>
                  </a:lnTo>
                  <a:lnTo>
                    <a:pt x="108" y="669"/>
                  </a:lnTo>
                  <a:lnTo>
                    <a:pt x="102" y="664"/>
                  </a:lnTo>
                  <a:lnTo>
                    <a:pt x="91" y="664"/>
                  </a:lnTo>
                  <a:lnTo>
                    <a:pt x="85" y="658"/>
                  </a:lnTo>
                  <a:lnTo>
                    <a:pt x="79" y="652"/>
                  </a:lnTo>
                  <a:lnTo>
                    <a:pt x="74" y="647"/>
                  </a:lnTo>
                  <a:lnTo>
                    <a:pt x="62" y="64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6" name="Freeform 15"/>
            <p:cNvSpPr>
              <a:spLocks/>
            </p:cNvSpPr>
            <p:nvPr/>
          </p:nvSpPr>
          <p:spPr bwMode="gray">
            <a:xfrm>
              <a:off x="842352" y="3403797"/>
              <a:ext cx="532866" cy="538685"/>
            </a:xfrm>
            <a:custGeom>
              <a:avLst/>
              <a:gdLst>
                <a:gd name="T0" fmla="*/ 2147483647 w 380"/>
                <a:gd name="T1" fmla="*/ 2147483647 h 403"/>
                <a:gd name="T2" fmla="*/ 2147483647 w 380"/>
                <a:gd name="T3" fmla="*/ 2147483647 h 403"/>
                <a:gd name="T4" fmla="*/ 2147483647 w 380"/>
                <a:gd name="T5" fmla="*/ 2147483647 h 403"/>
                <a:gd name="T6" fmla="*/ 2147483647 w 380"/>
                <a:gd name="T7" fmla="*/ 2147483647 h 403"/>
                <a:gd name="T8" fmla="*/ 2147483647 w 380"/>
                <a:gd name="T9" fmla="*/ 2147483647 h 403"/>
                <a:gd name="T10" fmla="*/ 2147483647 w 380"/>
                <a:gd name="T11" fmla="*/ 2147483647 h 403"/>
                <a:gd name="T12" fmla="*/ 0 w 380"/>
                <a:gd name="T13" fmla="*/ 2147483647 h 403"/>
                <a:gd name="T14" fmla="*/ 2147483647 w 380"/>
                <a:gd name="T15" fmla="*/ 2147483647 h 403"/>
                <a:gd name="T16" fmla="*/ 2147483647 w 380"/>
                <a:gd name="T17" fmla="*/ 2147483647 h 403"/>
                <a:gd name="T18" fmla="*/ 2147483647 w 380"/>
                <a:gd name="T19" fmla="*/ 2147483647 h 403"/>
                <a:gd name="T20" fmla="*/ 2147483647 w 380"/>
                <a:gd name="T21" fmla="*/ 2147483647 h 403"/>
                <a:gd name="T22" fmla="*/ 2147483647 w 380"/>
                <a:gd name="T23" fmla="*/ 2147483647 h 403"/>
                <a:gd name="T24" fmla="*/ 2147483647 w 380"/>
                <a:gd name="T25" fmla="*/ 2147483647 h 403"/>
                <a:gd name="T26" fmla="*/ 2147483647 w 380"/>
                <a:gd name="T27" fmla="*/ 2147483647 h 403"/>
                <a:gd name="T28" fmla="*/ 2147483647 w 380"/>
                <a:gd name="T29" fmla="*/ 2147483647 h 403"/>
                <a:gd name="T30" fmla="*/ 2147483647 w 380"/>
                <a:gd name="T31" fmla="*/ 2147483647 h 403"/>
                <a:gd name="T32" fmla="*/ 2147483647 w 380"/>
                <a:gd name="T33" fmla="*/ 2147483647 h 403"/>
                <a:gd name="T34" fmla="*/ 2147483647 w 380"/>
                <a:gd name="T35" fmla="*/ 2147483647 h 403"/>
                <a:gd name="T36" fmla="*/ 2147483647 w 380"/>
                <a:gd name="T37" fmla="*/ 2147483647 h 403"/>
                <a:gd name="T38" fmla="*/ 2147483647 w 380"/>
                <a:gd name="T39" fmla="*/ 2147483647 h 403"/>
                <a:gd name="T40" fmla="*/ 2147483647 w 380"/>
                <a:gd name="T41" fmla="*/ 2147483647 h 403"/>
                <a:gd name="T42" fmla="*/ 2147483647 w 380"/>
                <a:gd name="T43" fmla="*/ 2147483647 h 403"/>
                <a:gd name="T44" fmla="*/ 2147483647 w 380"/>
                <a:gd name="T45" fmla="*/ 2147483647 h 403"/>
                <a:gd name="T46" fmla="*/ 2147483647 w 380"/>
                <a:gd name="T47" fmla="*/ 2147483647 h 403"/>
                <a:gd name="T48" fmla="*/ 2147483647 w 380"/>
                <a:gd name="T49" fmla="*/ 2147483647 h 403"/>
                <a:gd name="T50" fmla="*/ 2147483647 w 380"/>
                <a:gd name="T51" fmla="*/ 2147483647 h 403"/>
                <a:gd name="T52" fmla="*/ 2147483647 w 380"/>
                <a:gd name="T53" fmla="*/ 0 h 403"/>
                <a:gd name="T54" fmla="*/ 2147483647 w 380"/>
                <a:gd name="T55" fmla="*/ 2147483647 h 403"/>
                <a:gd name="T56" fmla="*/ 2147483647 w 380"/>
                <a:gd name="T57" fmla="*/ 2147483647 h 403"/>
                <a:gd name="T58" fmla="*/ 2147483647 w 380"/>
                <a:gd name="T59" fmla="*/ 2147483647 h 403"/>
                <a:gd name="T60" fmla="*/ 2147483647 w 380"/>
                <a:gd name="T61" fmla="*/ 2147483647 h 403"/>
                <a:gd name="T62" fmla="*/ 2147483647 w 380"/>
                <a:gd name="T63" fmla="*/ 2147483647 h 403"/>
                <a:gd name="T64" fmla="*/ 2147483647 w 380"/>
                <a:gd name="T65" fmla="*/ 2147483647 h 403"/>
                <a:gd name="T66" fmla="*/ 2147483647 w 380"/>
                <a:gd name="T67" fmla="*/ 2147483647 h 403"/>
                <a:gd name="T68" fmla="*/ 2147483647 w 380"/>
                <a:gd name="T69" fmla="*/ 2147483647 h 403"/>
                <a:gd name="T70" fmla="*/ 2147483647 w 380"/>
                <a:gd name="T71" fmla="*/ 2147483647 h 403"/>
                <a:gd name="T72" fmla="*/ 2147483647 w 380"/>
                <a:gd name="T73" fmla="*/ 2147483647 h 403"/>
                <a:gd name="T74" fmla="*/ 2147483647 w 380"/>
                <a:gd name="T75" fmla="*/ 2147483647 h 403"/>
                <a:gd name="T76" fmla="*/ 2147483647 w 380"/>
                <a:gd name="T77" fmla="*/ 2147483647 h 403"/>
                <a:gd name="T78" fmla="*/ 2147483647 w 380"/>
                <a:gd name="T79" fmla="*/ 2147483647 h 403"/>
                <a:gd name="T80" fmla="*/ 2147483647 w 380"/>
                <a:gd name="T81" fmla="*/ 2147483647 h 403"/>
                <a:gd name="T82" fmla="*/ 2147483647 w 380"/>
                <a:gd name="T83" fmla="*/ 2147483647 h 403"/>
                <a:gd name="T84" fmla="*/ 2147483647 w 380"/>
                <a:gd name="T85" fmla="*/ 2147483647 h 403"/>
                <a:gd name="T86" fmla="*/ 2147483647 w 380"/>
                <a:gd name="T87" fmla="*/ 2147483647 h 403"/>
                <a:gd name="T88" fmla="*/ 2147483647 w 380"/>
                <a:gd name="T89" fmla="*/ 2147483647 h 403"/>
                <a:gd name="T90" fmla="*/ 2147483647 w 380"/>
                <a:gd name="T91" fmla="*/ 2147483647 h 403"/>
                <a:gd name="T92" fmla="*/ 2147483647 w 380"/>
                <a:gd name="T93" fmla="*/ 2147483647 h 403"/>
                <a:gd name="T94" fmla="*/ 2147483647 w 380"/>
                <a:gd name="T95" fmla="*/ 2147483647 h 403"/>
                <a:gd name="T96" fmla="*/ 2147483647 w 380"/>
                <a:gd name="T97" fmla="*/ 2147483647 h 403"/>
                <a:gd name="T98" fmla="*/ 2147483647 w 380"/>
                <a:gd name="T99" fmla="*/ 2147483647 h 403"/>
                <a:gd name="T100" fmla="*/ 2147483647 w 380"/>
                <a:gd name="T101" fmla="*/ 2147483647 h 40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80"/>
                <a:gd name="T154" fmla="*/ 0 h 403"/>
                <a:gd name="T155" fmla="*/ 380 w 380"/>
                <a:gd name="T156" fmla="*/ 403 h 40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80" h="403">
                  <a:moveTo>
                    <a:pt x="46" y="346"/>
                  </a:moveTo>
                  <a:lnTo>
                    <a:pt x="51" y="341"/>
                  </a:lnTo>
                  <a:lnTo>
                    <a:pt x="51" y="335"/>
                  </a:lnTo>
                  <a:lnTo>
                    <a:pt x="57" y="335"/>
                  </a:lnTo>
                  <a:lnTo>
                    <a:pt x="57" y="329"/>
                  </a:lnTo>
                  <a:lnTo>
                    <a:pt x="51" y="318"/>
                  </a:lnTo>
                  <a:lnTo>
                    <a:pt x="46" y="307"/>
                  </a:lnTo>
                  <a:lnTo>
                    <a:pt x="40" y="301"/>
                  </a:lnTo>
                  <a:lnTo>
                    <a:pt x="34" y="290"/>
                  </a:lnTo>
                  <a:lnTo>
                    <a:pt x="34" y="284"/>
                  </a:lnTo>
                  <a:lnTo>
                    <a:pt x="34" y="278"/>
                  </a:lnTo>
                  <a:lnTo>
                    <a:pt x="34" y="273"/>
                  </a:lnTo>
                  <a:lnTo>
                    <a:pt x="40" y="267"/>
                  </a:lnTo>
                  <a:lnTo>
                    <a:pt x="34" y="267"/>
                  </a:lnTo>
                  <a:lnTo>
                    <a:pt x="34" y="256"/>
                  </a:lnTo>
                  <a:lnTo>
                    <a:pt x="34" y="250"/>
                  </a:lnTo>
                  <a:lnTo>
                    <a:pt x="34" y="244"/>
                  </a:lnTo>
                  <a:lnTo>
                    <a:pt x="34" y="239"/>
                  </a:lnTo>
                  <a:lnTo>
                    <a:pt x="40" y="239"/>
                  </a:lnTo>
                  <a:lnTo>
                    <a:pt x="40" y="233"/>
                  </a:lnTo>
                  <a:lnTo>
                    <a:pt x="40" y="222"/>
                  </a:lnTo>
                  <a:lnTo>
                    <a:pt x="46" y="216"/>
                  </a:lnTo>
                  <a:lnTo>
                    <a:pt x="46" y="210"/>
                  </a:lnTo>
                  <a:lnTo>
                    <a:pt x="40" y="205"/>
                  </a:lnTo>
                  <a:lnTo>
                    <a:pt x="34" y="205"/>
                  </a:lnTo>
                  <a:lnTo>
                    <a:pt x="34" y="199"/>
                  </a:lnTo>
                  <a:lnTo>
                    <a:pt x="34" y="193"/>
                  </a:lnTo>
                  <a:lnTo>
                    <a:pt x="29" y="188"/>
                  </a:lnTo>
                  <a:lnTo>
                    <a:pt x="29" y="182"/>
                  </a:lnTo>
                  <a:lnTo>
                    <a:pt x="23" y="182"/>
                  </a:lnTo>
                  <a:lnTo>
                    <a:pt x="23" y="176"/>
                  </a:lnTo>
                  <a:lnTo>
                    <a:pt x="17" y="176"/>
                  </a:lnTo>
                  <a:lnTo>
                    <a:pt x="12" y="165"/>
                  </a:lnTo>
                  <a:lnTo>
                    <a:pt x="6" y="165"/>
                  </a:lnTo>
                  <a:lnTo>
                    <a:pt x="0" y="159"/>
                  </a:lnTo>
                  <a:lnTo>
                    <a:pt x="0" y="154"/>
                  </a:lnTo>
                  <a:lnTo>
                    <a:pt x="0" y="148"/>
                  </a:lnTo>
                  <a:lnTo>
                    <a:pt x="6" y="148"/>
                  </a:lnTo>
                  <a:lnTo>
                    <a:pt x="6" y="142"/>
                  </a:lnTo>
                  <a:lnTo>
                    <a:pt x="6" y="137"/>
                  </a:lnTo>
                  <a:lnTo>
                    <a:pt x="12" y="137"/>
                  </a:lnTo>
                  <a:lnTo>
                    <a:pt x="12" y="131"/>
                  </a:lnTo>
                  <a:lnTo>
                    <a:pt x="12" y="125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7" y="97"/>
                  </a:lnTo>
                  <a:lnTo>
                    <a:pt x="17" y="91"/>
                  </a:lnTo>
                  <a:lnTo>
                    <a:pt x="17" y="85"/>
                  </a:lnTo>
                  <a:lnTo>
                    <a:pt x="23" y="85"/>
                  </a:lnTo>
                  <a:lnTo>
                    <a:pt x="29" y="85"/>
                  </a:lnTo>
                  <a:lnTo>
                    <a:pt x="29" y="91"/>
                  </a:lnTo>
                  <a:lnTo>
                    <a:pt x="34" y="97"/>
                  </a:lnTo>
                  <a:lnTo>
                    <a:pt x="40" y="97"/>
                  </a:lnTo>
                  <a:lnTo>
                    <a:pt x="46" y="97"/>
                  </a:lnTo>
                  <a:lnTo>
                    <a:pt x="51" y="91"/>
                  </a:lnTo>
                  <a:lnTo>
                    <a:pt x="57" y="91"/>
                  </a:lnTo>
                  <a:lnTo>
                    <a:pt x="63" y="85"/>
                  </a:lnTo>
                  <a:lnTo>
                    <a:pt x="63" y="80"/>
                  </a:lnTo>
                  <a:lnTo>
                    <a:pt x="63" y="74"/>
                  </a:lnTo>
                  <a:lnTo>
                    <a:pt x="63" y="68"/>
                  </a:lnTo>
                  <a:lnTo>
                    <a:pt x="68" y="68"/>
                  </a:lnTo>
                  <a:lnTo>
                    <a:pt x="74" y="68"/>
                  </a:lnTo>
                  <a:lnTo>
                    <a:pt x="74" y="63"/>
                  </a:lnTo>
                  <a:lnTo>
                    <a:pt x="74" y="57"/>
                  </a:lnTo>
                  <a:lnTo>
                    <a:pt x="80" y="57"/>
                  </a:lnTo>
                  <a:lnTo>
                    <a:pt x="85" y="57"/>
                  </a:lnTo>
                  <a:lnTo>
                    <a:pt x="85" y="51"/>
                  </a:lnTo>
                  <a:lnTo>
                    <a:pt x="91" y="51"/>
                  </a:lnTo>
                  <a:lnTo>
                    <a:pt x="97" y="57"/>
                  </a:lnTo>
                  <a:lnTo>
                    <a:pt x="102" y="57"/>
                  </a:lnTo>
                  <a:lnTo>
                    <a:pt x="108" y="57"/>
                  </a:lnTo>
                  <a:lnTo>
                    <a:pt x="108" y="63"/>
                  </a:lnTo>
                  <a:lnTo>
                    <a:pt x="114" y="57"/>
                  </a:lnTo>
                  <a:lnTo>
                    <a:pt x="114" y="63"/>
                  </a:lnTo>
                  <a:lnTo>
                    <a:pt x="114" y="68"/>
                  </a:lnTo>
                  <a:lnTo>
                    <a:pt x="119" y="68"/>
                  </a:lnTo>
                  <a:lnTo>
                    <a:pt x="119" y="74"/>
                  </a:lnTo>
                  <a:lnTo>
                    <a:pt x="119" y="80"/>
                  </a:lnTo>
                  <a:lnTo>
                    <a:pt x="119" y="85"/>
                  </a:lnTo>
                  <a:lnTo>
                    <a:pt x="119" y="91"/>
                  </a:lnTo>
                  <a:lnTo>
                    <a:pt x="125" y="91"/>
                  </a:lnTo>
                  <a:lnTo>
                    <a:pt x="125" y="85"/>
                  </a:lnTo>
                  <a:lnTo>
                    <a:pt x="131" y="85"/>
                  </a:lnTo>
                  <a:lnTo>
                    <a:pt x="131" y="80"/>
                  </a:lnTo>
                  <a:lnTo>
                    <a:pt x="136" y="80"/>
                  </a:lnTo>
                  <a:lnTo>
                    <a:pt x="142" y="80"/>
                  </a:lnTo>
                  <a:lnTo>
                    <a:pt x="142" y="85"/>
                  </a:lnTo>
                  <a:lnTo>
                    <a:pt x="148" y="91"/>
                  </a:lnTo>
                  <a:lnTo>
                    <a:pt x="148" y="97"/>
                  </a:lnTo>
                  <a:lnTo>
                    <a:pt x="148" y="102"/>
                  </a:lnTo>
                  <a:lnTo>
                    <a:pt x="159" y="108"/>
                  </a:lnTo>
                  <a:lnTo>
                    <a:pt x="159" y="114"/>
                  </a:lnTo>
                  <a:lnTo>
                    <a:pt x="165" y="108"/>
                  </a:lnTo>
                  <a:lnTo>
                    <a:pt x="170" y="108"/>
                  </a:lnTo>
                  <a:lnTo>
                    <a:pt x="170" y="102"/>
                  </a:lnTo>
                  <a:lnTo>
                    <a:pt x="182" y="97"/>
                  </a:lnTo>
                  <a:lnTo>
                    <a:pt x="187" y="91"/>
                  </a:lnTo>
                  <a:lnTo>
                    <a:pt x="187" y="85"/>
                  </a:lnTo>
                  <a:lnTo>
                    <a:pt x="187" y="74"/>
                  </a:lnTo>
                  <a:lnTo>
                    <a:pt x="187" y="63"/>
                  </a:lnTo>
                  <a:lnTo>
                    <a:pt x="182" y="57"/>
                  </a:lnTo>
                  <a:lnTo>
                    <a:pt x="182" y="51"/>
                  </a:lnTo>
                  <a:lnTo>
                    <a:pt x="187" y="51"/>
                  </a:lnTo>
                  <a:lnTo>
                    <a:pt x="187" y="40"/>
                  </a:lnTo>
                  <a:lnTo>
                    <a:pt x="187" y="29"/>
                  </a:lnTo>
                  <a:lnTo>
                    <a:pt x="193" y="29"/>
                  </a:lnTo>
                  <a:lnTo>
                    <a:pt x="193" y="23"/>
                  </a:lnTo>
                  <a:lnTo>
                    <a:pt x="199" y="23"/>
                  </a:lnTo>
                  <a:lnTo>
                    <a:pt x="199" y="17"/>
                  </a:lnTo>
                  <a:lnTo>
                    <a:pt x="204" y="17"/>
                  </a:lnTo>
                  <a:lnTo>
                    <a:pt x="210" y="17"/>
                  </a:lnTo>
                  <a:lnTo>
                    <a:pt x="216" y="17"/>
                  </a:lnTo>
                  <a:lnTo>
                    <a:pt x="227" y="17"/>
                  </a:lnTo>
                  <a:lnTo>
                    <a:pt x="233" y="17"/>
                  </a:lnTo>
                  <a:lnTo>
                    <a:pt x="238" y="12"/>
                  </a:lnTo>
                  <a:lnTo>
                    <a:pt x="238" y="17"/>
                  </a:lnTo>
                  <a:lnTo>
                    <a:pt x="244" y="17"/>
                  </a:lnTo>
                  <a:lnTo>
                    <a:pt x="250" y="17"/>
                  </a:lnTo>
                  <a:lnTo>
                    <a:pt x="255" y="17"/>
                  </a:lnTo>
                  <a:lnTo>
                    <a:pt x="255" y="23"/>
                  </a:lnTo>
                  <a:lnTo>
                    <a:pt x="267" y="17"/>
                  </a:lnTo>
                  <a:lnTo>
                    <a:pt x="272" y="17"/>
                  </a:lnTo>
                  <a:lnTo>
                    <a:pt x="272" y="12"/>
                  </a:lnTo>
                  <a:lnTo>
                    <a:pt x="278" y="12"/>
                  </a:lnTo>
                  <a:lnTo>
                    <a:pt x="284" y="12"/>
                  </a:lnTo>
                  <a:lnTo>
                    <a:pt x="289" y="12"/>
                  </a:lnTo>
                  <a:lnTo>
                    <a:pt x="295" y="12"/>
                  </a:lnTo>
                  <a:lnTo>
                    <a:pt x="301" y="12"/>
                  </a:lnTo>
                  <a:lnTo>
                    <a:pt x="306" y="12"/>
                  </a:lnTo>
                  <a:lnTo>
                    <a:pt x="312" y="12"/>
                  </a:lnTo>
                  <a:lnTo>
                    <a:pt x="312" y="6"/>
                  </a:lnTo>
                  <a:lnTo>
                    <a:pt x="318" y="0"/>
                  </a:lnTo>
                  <a:lnTo>
                    <a:pt x="324" y="0"/>
                  </a:lnTo>
                  <a:lnTo>
                    <a:pt x="329" y="0"/>
                  </a:lnTo>
                  <a:lnTo>
                    <a:pt x="335" y="6"/>
                  </a:lnTo>
                  <a:lnTo>
                    <a:pt x="341" y="6"/>
                  </a:lnTo>
                  <a:lnTo>
                    <a:pt x="346" y="12"/>
                  </a:lnTo>
                  <a:lnTo>
                    <a:pt x="352" y="17"/>
                  </a:lnTo>
                  <a:lnTo>
                    <a:pt x="352" y="23"/>
                  </a:lnTo>
                  <a:lnTo>
                    <a:pt x="358" y="23"/>
                  </a:lnTo>
                  <a:lnTo>
                    <a:pt x="369" y="23"/>
                  </a:lnTo>
                  <a:lnTo>
                    <a:pt x="375" y="23"/>
                  </a:lnTo>
                  <a:lnTo>
                    <a:pt x="380" y="23"/>
                  </a:lnTo>
                  <a:lnTo>
                    <a:pt x="380" y="29"/>
                  </a:lnTo>
                  <a:lnTo>
                    <a:pt x="375" y="29"/>
                  </a:lnTo>
                  <a:lnTo>
                    <a:pt x="375" y="34"/>
                  </a:lnTo>
                  <a:lnTo>
                    <a:pt x="375" y="40"/>
                  </a:lnTo>
                  <a:lnTo>
                    <a:pt x="369" y="46"/>
                  </a:lnTo>
                  <a:lnTo>
                    <a:pt x="369" y="51"/>
                  </a:lnTo>
                  <a:lnTo>
                    <a:pt x="363" y="51"/>
                  </a:lnTo>
                  <a:lnTo>
                    <a:pt x="358" y="51"/>
                  </a:lnTo>
                  <a:lnTo>
                    <a:pt x="358" y="57"/>
                  </a:lnTo>
                  <a:lnTo>
                    <a:pt x="352" y="57"/>
                  </a:lnTo>
                  <a:lnTo>
                    <a:pt x="346" y="57"/>
                  </a:lnTo>
                  <a:lnTo>
                    <a:pt x="346" y="63"/>
                  </a:lnTo>
                  <a:lnTo>
                    <a:pt x="341" y="63"/>
                  </a:lnTo>
                  <a:lnTo>
                    <a:pt x="341" y="68"/>
                  </a:lnTo>
                  <a:lnTo>
                    <a:pt x="335" y="68"/>
                  </a:lnTo>
                  <a:lnTo>
                    <a:pt x="335" y="74"/>
                  </a:lnTo>
                  <a:lnTo>
                    <a:pt x="329" y="74"/>
                  </a:lnTo>
                  <a:lnTo>
                    <a:pt x="329" y="80"/>
                  </a:lnTo>
                  <a:lnTo>
                    <a:pt x="329" y="85"/>
                  </a:lnTo>
                  <a:lnTo>
                    <a:pt x="324" y="91"/>
                  </a:lnTo>
                  <a:lnTo>
                    <a:pt x="324" y="97"/>
                  </a:lnTo>
                  <a:lnTo>
                    <a:pt x="324" y="108"/>
                  </a:lnTo>
                  <a:lnTo>
                    <a:pt x="329" y="114"/>
                  </a:lnTo>
                  <a:lnTo>
                    <a:pt x="329" y="120"/>
                  </a:lnTo>
                  <a:lnTo>
                    <a:pt x="329" y="125"/>
                  </a:lnTo>
                  <a:lnTo>
                    <a:pt x="329" y="137"/>
                  </a:lnTo>
                  <a:lnTo>
                    <a:pt x="329" y="142"/>
                  </a:lnTo>
                  <a:lnTo>
                    <a:pt x="324" y="142"/>
                  </a:lnTo>
                  <a:lnTo>
                    <a:pt x="324" y="148"/>
                  </a:lnTo>
                  <a:lnTo>
                    <a:pt x="324" y="159"/>
                  </a:lnTo>
                  <a:lnTo>
                    <a:pt x="324" y="165"/>
                  </a:lnTo>
                  <a:lnTo>
                    <a:pt x="324" y="176"/>
                  </a:lnTo>
                  <a:lnTo>
                    <a:pt x="324" y="188"/>
                  </a:lnTo>
                  <a:lnTo>
                    <a:pt x="329" y="193"/>
                  </a:lnTo>
                  <a:lnTo>
                    <a:pt x="329" y="199"/>
                  </a:lnTo>
                  <a:lnTo>
                    <a:pt x="329" y="205"/>
                  </a:lnTo>
                  <a:lnTo>
                    <a:pt x="329" y="210"/>
                  </a:lnTo>
                  <a:lnTo>
                    <a:pt x="329" y="222"/>
                  </a:lnTo>
                  <a:lnTo>
                    <a:pt x="329" y="227"/>
                  </a:lnTo>
                  <a:lnTo>
                    <a:pt x="329" y="233"/>
                  </a:lnTo>
                  <a:lnTo>
                    <a:pt x="335" y="239"/>
                  </a:lnTo>
                  <a:lnTo>
                    <a:pt x="341" y="239"/>
                  </a:lnTo>
                  <a:lnTo>
                    <a:pt x="341" y="244"/>
                  </a:lnTo>
                  <a:lnTo>
                    <a:pt x="341" y="250"/>
                  </a:lnTo>
                  <a:lnTo>
                    <a:pt x="341" y="256"/>
                  </a:lnTo>
                  <a:lnTo>
                    <a:pt x="335" y="256"/>
                  </a:lnTo>
                  <a:lnTo>
                    <a:pt x="329" y="261"/>
                  </a:lnTo>
                  <a:lnTo>
                    <a:pt x="324" y="261"/>
                  </a:lnTo>
                  <a:lnTo>
                    <a:pt x="318" y="261"/>
                  </a:lnTo>
                  <a:lnTo>
                    <a:pt x="312" y="261"/>
                  </a:lnTo>
                  <a:lnTo>
                    <a:pt x="306" y="261"/>
                  </a:lnTo>
                  <a:lnTo>
                    <a:pt x="301" y="261"/>
                  </a:lnTo>
                  <a:lnTo>
                    <a:pt x="295" y="261"/>
                  </a:lnTo>
                  <a:lnTo>
                    <a:pt x="295" y="267"/>
                  </a:lnTo>
                  <a:lnTo>
                    <a:pt x="295" y="278"/>
                  </a:lnTo>
                  <a:lnTo>
                    <a:pt x="295" y="284"/>
                  </a:lnTo>
                  <a:lnTo>
                    <a:pt x="295" y="290"/>
                  </a:lnTo>
                  <a:lnTo>
                    <a:pt x="295" y="295"/>
                  </a:lnTo>
                  <a:lnTo>
                    <a:pt x="295" y="301"/>
                  </a:lnTo>
                  <a:lnTo>
                    <a:pt x="295" y="307"/>
                  </a:lnTo>
                  <a:lnTo>
                    <a:pt x="289" y="307"/>
                  </a:lnTo>
                  <a:lnTo>
                    <a:pt x="284" y="307"/>
                  </a:lnTo>
                  <a:lnTo>
                    <a:pt x="278" y="312"/>
                  </a:lnTo>
                  <a:lnTo>
                    <a:pt x="267" y="312"/>
                  </a:lnTo>
                  <a:lnTo>
                    <a:pt x="261" y="312"/>
                  </a:lnTo>
                  <a:lnTo>
                    <a:pt x="261" y="318"/>
                  </a:lnTo>
                  <a:lnTo>
                    <a:pt x="255" y="318"/>
                  </a:lnTo>
                  <a:lnTo>
                    <a:pt x="250" y="324"/>
                  </a:lnTo>
                  <a:lnTo>
                    <a:pt x="250" y="329"/>
                  </a:lnTo>
                  <a:lnTo>
                    <a:pt x="244" y="329"/>
                  </a:lnTo>
                  <a:lnTo>
                    <a:pt x="238" y="335"/>
                  </a:lnTo>
                  <a:lnTo>
                    <a:pt x="233" y="335"/>
                  </a:lnTo>
                  <a:lnTo>
                    <a:pt x="233" y="341"/>
                  </a:lnTo>
                  <a:lnTo>
                    <a:pt x="227" y="346"/>
                  </a:lnTo>
                  <a:lnTo>
                    <a:pt x="216" y="352"/>
                  </a:lnTo>
                  <a:lnTo>
                    <a:pt x="216" y="358"/>
                  </a:lnTo>
                  <a:lnTo>
                    <a:pt x="210" y="363"/>
                  </a:lnTo>
                  <a:lnTo>
                    <a:pt x="204" y="369"/>
                  </a:lnTo>
                  <a:lnTo>
                    <a:pt x="204" y="375"/>
                  </a:lnTo>
                  <a:lnTo>
                    <a:pt x="199" y="386"/>
                  </a:lnTo>
                  <a:lnTo>
                    <a:pt x="199" y="392"/>
                  </a:lnTo>
                  <a:lnTo>
                    <a:pt x="193" y="392"/>
                  </a:lnTo>
                  <a:lnTo>
                    <a:pt x="187" y="392"/>
                  </a:lnTo>
                  <a:lnTo>
                    <a:pt x="182" y="392"/>
                  </a:lnTo>
                  <a:lnTo>
                    <a:pt x="170" y="392"/>
                  </a:lnTo>
                  <a:lnTo>
                    <a:pt x="165" y="392"/>
                  </a:lnTo>
                  <a:lnTo>
                    <a:pt x="159" y="392"/>
                  </a:lnTo>
                  <a:lnTo>
                    <a:pt x="159" y="397"/>
                  </a:lnTo>
                  <a:lnTo>
                    <a:pt x="142" y="403"/>
                  </a:lnTo>
                  <a:lnTo>
                    <a:pt x="136" y="403"/>
                  </a:lnTo>
                  <a:lnTo>
                    <a:pt x="131" y="403"/>
                  </a:lnTo>
                  <a:lnTo>
                    <a:pt x="131" y="397"/>
                  </a:lnTo>
                  <a:lnTo>
                    <a:pt x="119" y="392"/>
                  </a:lnTo>
                  <a:lnTo>
                    <a:pt x="119" y="386"/>
                  </a:lnTo>
                  <a:lnTo>
                    <a:pt x="114" y="380"/>
                  </a:lnTo>
                  <a:lnTo>
                    <a:pt x="114" y="375"/>
                  </a:lnTo>
                  <a:lnTo>
                    <a:pt x="114" y="369"/>
                  </a:lnTo>
                  <a:lnTo>
                    <a:pt x="108" y="369"/>
                  </a:lnTo>
                  <a:lnTo>
                    <a:pt x="102" y="363"/>
                  </a:lnTo>
                  <a:lnTo>
                    <a:pt x="97" y="363"/>
                  </a:lnTo>
                  <a:lnTo>
                    <a:pt x="91" y="369"/>
                  </a:lnTo>
                  <a:lnTo>
                    <a:pt x="91" y="375"/>
                  </a:lnTo>
                  <a:lnTo>
                    <a:pt x="85" y="375"/>
                  </a:lnTo>
                  <a:lnTo>
                    <a:pt x="80" y="375"/>
                  </a:lnTo>
                  <a:lnTo>
                    <a:pt x="74" y="380"/>
                  </a:lnTo>
                  <a:lnTo>
                    <a:pt x="68" y="380"/>
                  </a:lnTo>
                  <a:lnTo>
                    <a:pt x="63" y="375"/>
                  </a:lnTo>
                  <a:lnTo>
                    <a:pt x="57" y="369"/>
                  </a:lnTo>
                  <a:lnTo>
                    <a:pt x="57" y="363"/>
                  </a:lnTo>
                  <a:lnTo>
                    <a:pt x="57" y="358"/>
                  </a:lnTo>
                  <a:lnTo>
                    <a:pt x="51" y="352"/>
                  </a:lnTo>
                  <a:lnTo>
                    <a:pt x="46" y="34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7" name="Freeform 16"/>
            <p:cNvSpPr>
              <a:spLocks/>
            </p:cNvSpPr>
            <p:nvPr/>
          </p:nvSpPr>
          <p:spPr bwMode="gray">
            <a:xfrm>
              <a:off x="198081" y="2882982"/>
              <a:ext cx="930167" cy="1013546"/>
            </a:xfrm>
            <a:custGeom>
              <a:avLst/>
              <a:gdLst>
                <a:gd name="T0" fmla="*/ 2147483647 w 663"/>
                <a:gd name="T1" fmla="*/ 2147483647 h 760"/>
                <a:gd name="T2" fmla="*/ 2147483647 w 663"/>
                <a:gd name="T3" fmla="*/ 2147483647 h 760"/>
                <a:gd name="T4" fmla="*/ 2147483647 w 663"/>
                <a:gd name="T5" fmla="*/ 2147483647 h 760"/>
                <a:gd name="T6" fmla="*/ 2147483647 w 663"/>
                <a:gd name="T7" fmla="*/ 2147483647 h 760"/>
                <a:gd name="T8" fmla="*/ 2147483647 w 663"/>
                <a:gd name="T9" fmla="*/ 2147483647 h 760"/>
                <a:gd name="T10" fmla="*/ 2147483647 w 663"/>
                <a:gd name="T11" fmla="*/ 2147483647 h 760"/>
                <a:gd name="T12" fmla="*/ 2147483647 w 663"/>
                <a:gd name="T13" fmla="*/ 2147483647 h 760"/>
                <a:gd name="T14" fmla="*/ 2147483647 w 663"/>
                <a:gd name="T15" fmla="*/ 2147483647 h 760"/>
                <a:gd name="T16" fmla="*/ 2147483647 w 663"/>
                <a:gd name="T17" fmla="*/ 2147483647 h 760"/>
                <a:gd name="T18" fmla="*/ 2147483647 w 663"/>
                <a:gd name="T19" fmla="*/ 2147483647 h 760"/>
                <a:gd name="T20" fmla="*/ 2147483647 w 663"/>
                <a:gd name="T21" fmla="*/ 2147483647 h 760"/>
                <a:gd name="T22" fmla="*/ 2147483647 w 663"/>
                <a:gd name="T23" fmla="*/ 2147483647 h 760"/>
                <a:gd name="T24" fmla="*/ 2147483647 w 663"/>
                <a:gd name="T25" fmla="*/ 2147483647 h 760"/>
                <a:gd name="T26" fmla="*/ 2147483647 w 663"/>
                <a:gd name="T27" fmla="*/ 2147483647 h 760"/>
                <a:gd name="T28" fmla="*/ 2147483647 w 663"/>
                <a:gd name="T29" fmla="*/ 2147483647 h 760"/>
                <a:gd name="T30" fmla="*/ 2147483647 w 663"/>
                <a:gd name="T31" fmla="*/ 2147483647 h 760"/>
                <a:gd name="T32" fmla="*/ 2147483647 w 663"/>
                <a:gd name="T33" fmla="*/ 2147483647 h 760"/>
                <a:gd name="T34" fmla="*/ 2147483647 w 663"/>
                <a:gd name="T35" fmla="*/ 2147483647 h 760"/>
                <a:gd name="T36" fmla="*/ 2147483647 w 663"/>
                <a:gd name="T37" fmla="*/ 2147483647 h 760"/>
                <a:gd name="T38" fmla="*/ 2147483647 w 663"/>
                <a:gd name="T39" fmla="*/ 2147483647 h 760"/>
                <a:gd name="T40" fmla="*/ 2147483647 w 663"/>
                <a:gd name="T41" fmla="*/ 2147483647 h 760"/>
                <a:gd name="T42" fmla="*/ 2147483647 w 663"/>
                <a:gd name="T43" fmla="*/ 2147483647 h 760"/>
                <a:gd name="T44" fmla="*/ 2147483647 w 663"/>
                <a:gd name="T45" fmla="*/ 2147483647 h 760"/>
                <a:gd name="T46" fmla="*/ 2147483647 w 663"/>
                <a:gd name="T47" fmla="*/ 2147483647 h 760"/>
                <a:gd name="T48" fmla="*/ 2147483647 w 663"/>
                <a:gd name="T49" fmla="*/ 2147483647 h 760"/>
                <a:gd name="T50" fmla="*/ 2147483647 w 663"/>
                <a:gd name="T51" fmla="*/ 2147483647 h 760"/>
                <a:gd name="T52" fmla="*/ 2147483647 w 663"/>
                <a:gd name="T53" fmla="*/ 2147483647 h 760"/>
                <a:gd name="T54" fmla="*/ 2147483647 w 663"/>
                <a:gd name="T55" fmla="*/ 2147483647 h 760"/>
                <a:gd name="T56" fmla="*/ 2147483647 w 663"/>
                <a:gd name="T57" fmla="*/ 2147483647 h 760"/>
                <a:gd name="T58" fmla="*/ 2147483647 w 663"/>
                <a:gd name="T59" fmla="*/ 2147483647 h 760"/>
                <a:gd name="T60" fmla="*/ 2147483647 w 663"/>
                <a:gd name="T61" fmla="*/ 2147483647 h 760"/>
                <a:gd name="T62" fmla="*/ 2147483647 w 663"/>
                <a:gd name="T63" fmla="*/ 2147483647 h 760"/>
                <a:gd name="T64" fmla="*/ 2147483647 w 663"/>
                <a:gd name="T65" fmla="*/ 2147483647 h 760"/>
                <a:gd name="T66" fmla="*/ 2147483647 w 663"/>
                <a:gd name="T67" fmla="*/ 2147483647 h 760"/>
                <a:gd name="T68" fmla="*/ 2147483647 w 663"/>
                <a:gd name="T69" fmla="*/ 2147483647 h 760"/>
                <a:gd name="T70" fmla="*/ 2147483647 w 663"/>
                <a:gd name="T71" fmla="*/ 2147483647 h 760"/>
                <a:gd name="T72" fmla="*/ 2147483647 w 663"/>
                <a:gd name="T73" fmla="*/ 2147483647 h 760"/>
                <a:gd name="T74" fmla="*/ 2147483647 w 663"/>
                <a:gd name="T75" fmla="*/ 2147483647 h 760"/>
                <a:gd name="T76" fmla="*/ 2147483647 w 663"/>
                <a:gd name="T77" fmla="*/ 2147483647 h 760"/>
                <a:gd name="T78" fmla="*/ 2147483647 w 663"/>
                <a:gd name="T79" fmla="*/ 2147483647 h 760"/>
                <a:gd name="T80" fmla="*/ 2147483647 w 663"/>
                <a:gd name="T81" fmla="*/ 2147483647 h 760"/>
                <a:gd name="T82" fmla="*/ 2147483647 w 663"/>
                <a:gd name="T83" fmla="*/ 2147483647 h 760"/>
                <a:gd name="T84" fmla="*/ 2147483647 w 663"/>
                <a:gd name="T85" fmla="*/ 2147483647 h 760"/>
                <a:gd name="T86" fmla="*/ 2147483647 w 663"/>
                <a:gd name="T87" fmla="*/ 2147483647 h 760"/>
                <a:gd name="T88" fmla="*/ 2147483647 w 663"/>
                <a:gd name="T89" fmla="*/ 2147483647 h 760"/>
                <a:gd name="T90" fmla="*/ 2147483647 w 663"/>
                <a:gd name="T91" fmla="*/ 2147483647 h 760"/>
                <a:gd name="T92" fmla="*/ 2147483647 w 663"/>
                <a:gd name="T93" fmla="*/ 2147483647 h 760"/>
                <a:gd name="T94" fmla="*/ 2147483647 w 663"/>
                <a:gd name="T95" fmla="*/ 2147483647 h 760"/>
                <a:gd name="T96" fmla="*/ 2147483647 w 663"/>
                <a:gd name="T97" fmla="*/ 2147483647 h 760"/>
                <a:gd name="T98" fmla="*/ 2147483647 w 663"/>
                <a:gd name="T99" fmla="*/ 2147483647 h 760"/>
                <a:gd name="T100" fmla="*/ 2147483647 w 663"/>
                <a:gd name="T101" fmla="*/ 2147483647 h 760"/>
                <a:gd name="T102" fmla="*/ 2147483647 w 663"/>
                <a:gd name="T103" fmla="*/ 2147483647 h 760"/>
                <a:gd name="T104" fmla="*/ 2147483647 w 663"/>
                <a:gd name="T105" fmla="*/ 2147483647 h 760"/>
                <a:gd name="T106" fmla="*/ 2147483647 w 663"/>
                <a:gd name="T107" fmla="*/ 2147483647 h 760"/>
                <a:gd name="T108" fmla="*/ 2147483647 w 663"/>
                <a:gd name="T109" fmla="*/ 2147483647 h 760"/>
                <a:gd name="T110" fmla="*/ 2147483647 w 663"/>
                <a:gd name="T111" fmla="*/ 2147483647 h 760"/>
                <a:gd name="T112" fmla="*/ 2147483647 w 663"/>
                <a:gd name="T113" fmla="*/ 2147483647 h 760"/>
                <a:gd name="T114" fmla="*/ 2147483647 w 663"/>
                <a:gd name="T115" fmla="*/ 2147483647 h 760"/>
                <a:gd name="T116" fmla="*/ 2147483647 w 663"/>
                <a:gd name="T117" fmla="*/ 2147483647 h 760"/>
                <a:gd name="T118" fmla="*/ 2147483647 w 663"/>
                <a:gd name="T119" fmla="*/ 2147483647 h 760"/>
                <a:gd name="T120" fmla="*/ 2147483647 w 663"/>
                <a:gd name="T121" fmla="*/ 2147483647 h 7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63"/>
                <a:gd name="T184" fmla="*/ 0 h 760"/>
                <a:gd name="T185" fmla="*/ 663 w 663"/>
                <a:gd name="T186" fmla="*/ 760 h 7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63" h="760">
                  <a:moveTo>
                    <a:pt x="0" y="431"/>
                  </a:moveTo>
                  <a:lnTo>
                    <a:pt x="0" y="425"/>
                  </a:lnTo>
                  <a:lnTo>
                    <a:pt x="6" y="408"/>
                  </a:lnTo>
                  <a:lnTo>
                    <a:pt x="6" y="403"/>
                  </a:lnTo>
                  <a:lnTo>
                    <a:pt x="12" y="403"/>
                  </a:lnTo>
                  <a:lnTo>
                    <a:pt x="6" y="397"/>
                  </a:lnTo>
                  <a:lnTo>
                    <a:pt x="6" y="391"/>
                  </a:lnTo>
                  <a:lnTo>
                    <a:pt x="12" y="386"/>
                  </a:lnTo>
                  <a:lnTo>
                    <a:pt x="12" y="380"/>
                  </a:lnTo>
                  <a:lnTo>
                    <a:pt x="12" y="374"/>
                  </a:lnTo>
                  <a:lnTo>
                    <a:pt x="17" y="369"/>
                  </a:lnTo>
                  <a:lnTo>
                    <a:pt x="17" y="357"/>
                  </a:lnTo>
                  <a:lnTo>
                    <a:pt x="17" y="352"/>
                  </a:lnTo>
                  <a:lnTo>
                    <a:pt x="12" y="346"/>
                  </a:lnTo>
                  <a:lnTo>
                    <a:pt x="12" y="340"/>
                  </a:lnTo>
                  <a:lnTo>
                    <a:pt x="6" y="340"/>
                  </a:lnTo>
                  <a:lnTo>
                    <a:pt x="6" y="335"/>
                  </a:lnTo>
                  <a:lnTo>
                    <a:pt x="0" y="329"/>
                  </a:lnTo>
                  <a:lnTo>
                    <a:pt x="0" y="318"/>
                  </a:lnTo>
                  <a:lnTo>
                    <a:pt x="0" y="312"/>
                  </a:lnTo>
                  <a:lnTo>
                    <a:pt x="0" y="306"/>
                  </a:lnTo>
                  <a:lnTo>
                    <a:pt x="0" y="301"/>
                  </a:lnTo>
                  <a:lnTo>
                    <a:pt x="0" y="295"/>
                  </a:lnTo>
                  <a:lnTo>
                    <a:pt x="6" y="289"/>
                  </a:lnTo>
                  <a:lnTo>
                    <a:pt x="6" y="284"/>
                  </a:lnTo>
                  <a:lnTo>
                    <a:pt x="0" y="278"/>
                  </a:lnTo>
                  <a:lnTo>
                    <a:pt x="6" y="272"/>
                  </a:lnTo>
                  <a:lnTo>
                    <a:pt x="12" y="272"/>
                  </a:lnTo>
                  <a:lnTo>
                    <a:pt x="12" y="267"/>
                  </a:lnTo>
                  <a:lnTo>
                    <a:pt x="17" y="261"/>
                  </a:lnTo>
                  <a:lnTo>
                    <a:pt x="17" y="255"/>
                  </a:lnTo>
                  <a:lnTo>
                    <a:pt x="17" y="250"/>
                  </a:lnTo>
                  <a:lnTo>
                    <a:pt x="23" y="244"/>
                  </a:lnTo>
                  <a:lnTo>
                    <a:pt x="23" y="238"/>
                  </a:lnTo>
                  <a:lnTo>
                    <a:pt x="17" y="238"/>
                  </a:lnTo>
                  <a:lnTo>
                    <a:pt x="17" y="233"/>
                  </a:lnTo>
                  <a:lnTo>
                    <a:pt x="17" y="227"/>
                  </a:lnTo>
                  <a:lnTo>
                    <a:pt x="17" y="221"/>
                  </a:lnTo>
                  <a:lnTo>
                    <a:pt x="23" y="221"/>
                  </a:lnTo>
                  <a:lnTo>
                    <a:pt x="23" y="216"/>
                  </a:lnTo>
                  <a:lnTo>
                    <a:pt x="29" y="210"/>
                  </a:lnTo>
                  <a:lnTo>
                    <a:pt x="29" y="204"/>
                  </a:lnTo>
                  <a:lnTo>
                    <a:pt x="34" y="204"/>
                  </a:lnTo>
                  <a:lnTo>
                    <a:pt x="40" y="199"/>
                  </a:lnTo>
                  <a:lnTo>
                    <a:pt x="51" y="204"/>
                  </a:lnTo>
                  <a:lnTo>
                    <a:pt x="57" y="204"/>
                  </a:lnTo>
                  <a:lnTo>
                    <a:pt x="63" y="210"/>
                  </a:lnTo>
                  <a:lnTo>
                    <a:pt x="68" y="204"/>
                  </a:lnTo>
                  <a:lnTo>
                    <a:pt x="68" y="199"/>
                  </a:lnTo>
                  <a:lnTo>
                    <a:pt x="74" y="199"/>
                  </a:lnTo>
                  <a:lnTo>
                    <a:pt x="80" y="199"/>
                  </a:lnTo>
                  <a:lnTo>
                    <a:pt x="80" y="193"/>
                  </a:lnTo>
                  <a:lnTo>
                    <a:pt x="85" y="187"/>
                  </a:lnTo>
                  <a:lnTo>
                    <a:pt x="97" y="182"/>
                  </a:lnTo>
                  <a:lnTo>
                    <a:pt x="97" y="176"/>
                  </a:lnTo>
                  <a:lnTo>
                    <a:pt x="102" y="176"/>
                  </a:lnTo>
                  <a:lnTo>
                    <a:pt x="108" y="170"/>
                  </a:lnTo>
                  <a:lnTo>
                    <a:pt x="108" y="165"/>
                  </a:lnTo>
                  <a:lnTo>
                    <a:pt x="114" y="165"/>
                  </a:lnTo>
                  <a:lnTo>
                    <a:pt x="119" y="165"/>
                  </a:lnTo>
                  <a:lnTo>
                    <a:pt x="119" y="159"/>
                  </a:lnTo>
                  <a:lnTo>
                    <a:pt x="125" y="153"/>
                  </a:lnTo>
                  <a:lnTo>
                    <a:pt x="131" y="153"/>
                  </a:lnTo>
                  <a:lnTo>
                    <a:pt x="136" y="153"/>
                  </a:lnTo>
                  <a:lnTo>
                    <a:pt x="136" y="148"/>
                  </a:lnTo>
                  <a:lnTo>
                    <a:pt x="142" y="142"/>
                  </a:lnTo>
                  <a:lnTo>
                    <a:pt x="148" y="142"/>
                  </a:lnTo>
                  <a:lnTo>
                    <a:pt x="153" y="142"/>
                  </a:lnTo>
                  <a:lnTo>
                    <a:pt x="159" y="142"/>
                  </a:lnTo>
                  <a:lnTo>
                    <a:pt x="165" y="142"/>
                  </a:lnTo>
                  <a:lnTo>
                    <a:pt x="170" y="142"/>
                  </a:lnTo>
                  <a:lnTo>
                    <a:pt x="176" y="142"/>
                  </a:lnTo>
                  <a:lnTo>
                    <a:pt x="182" y="142"/>
                  </a:lnTo>
                  <a:lnTo>
                    <a:pt x="187" y="142"/>
                  </a:lnTo>
                  <a:lnTo>
                    <a:pt x="193" y="142"/>
                  </a:lnTo>
                  <a:lnTo>
                    <a:pt x="199" y="142"/>
                  </a:lnTo>
                  <a:lnTo>
                    <a:pt x="204" y="142"/>
                  </a:lnTo>
                  <a:lnTo>
                    <a:pt x="210" y="136"/>
                  </a:lnTo>
                  <a:lnTo>
                    <a:pt x="216" y="131"/>
                  </a:lnTo>
                  <a:lnTo>
                    <a:pt x="221" y="131"/>
                  </a:lnTo>
                  <a:lnTo>
                    <a:pt x="227" y="131"/>
                  </a:lnTo>
                  <a:lnTo>
                    <a:pt x="233" y="131"/>
                  </a:lnTo>
                  <a:lnTo>
                    <a:pt x="238" y="125"/>
                  </a:lnTo>
                  <a:lnTo>
                    <a:pt x="244" y="125"/>
                  </a:lnTo>
                  <a:lnTo>
                    <a:pt x="250" y="125"/>
                  </a:lnTo>
                  <a:lnTo>
                    <a:pt x="250" y="119"/>
                  </a:lnTo>
                  <a:lnTo>
                    <a:pt x="250" y="114"/>
                  </a:lnTo>
                  <a:lnTo>
                    <a:pt x="255" y="114"/>
                  </a:lnTo>
                  <a:lnTo>
                    <a:pt x="261" y="114"/>
                  </a:lnTo>
                  <a:lnTo>
                    <a:pt x="267" y="108"/>
                  </a:lnTo>
                  <a:lnTo>
                    <a:pt x="278" y="108"/>
                  </a:lnTo>
                  <a:lnTo>
                    <a:pt x="278" y="102"/>
                  </a:lnTo>
                  <a:lnTo>
                    <a:pt x="289" y="102"/>
                  </a:lnTo>
                  <a:lnTo>
                    <a:pt x="295" y="97"/>
                  </a:lnTo>
                  <a:lnTo>
                    <a:pt x="306" y="97"/>
                  </a:lnTo>
                  <a:lnTo>
                    <a:pt x="318" y="91"/>
                  </a:lnTo>
                  <a:lnTo>
                    <a:pt x="329" y="85"/>
                  </a:lnTo>
                  <a:lnTo>
                    <a:pt x="335" y="85"/>
                  </a:lnTo>
                  <a:lnTo>
                    <a:pt x="335" y="80"/>
                  </a:lnTo>
                  <a:lnTo>
                    <a:pt x="340" y="80"/>
                  </a:lnTo>
                  <a:lnTo>
                    <a:pt x="346" y="80"/>
                  </a:lnTo>
                  <a:lnTo>
                    <a:pt x="346" y="74"/>
                  </a:lnTo>
                  <a:lnTo>
                    <a:pt x="352" y="74"/>
                  </a:lnTo>
                  <a:lnTo>
                    <a:pt x="352" y="68"/>
                  </a:lnTo>
                  <a:lnTo>
                    <a:pt x="357" y="68"/>
                  </a:lnTo>
                  <a:lnTo>
                    <a:pt x="363" y="63"/>
                  </a:lnTo>
                  <a:lnTo>
                    <a:pt x="363" y="57"/>
                  </a:lnTo>
                  <a:lnTo>
                    <a:pt x="369" y="51"/>
                  </a:lnTo>
                  <a:lnTo>
                    <a:pt x="369" y="46"/>
                  </a:lnTo>
                  <a:lnTo>
                    <a:pt x="369" y="40"/>
                  </a:lnTo>
                  <a:lnTo>
                    <a:pt x="369" y="34"/>
                  </a:lnTo>
                  <a:lnTo>
                    <a:pt x="369" y="29"/>
                  </a:lnTo>
                  <a:lnTo>
                    <a:pt x="374" y="29"/>
                  </a:lnTo>
                  <a:lnTo>
                    <a:pt x="374" y="23"/>
                  </a:lnTo>
                  <a:lnTo>
                    <a:pt x="380" y="17"/>
                  </a:lnTo>
                  <a:lnTo>
                    <a:pt x="386" y="17"/>
                  </a:lnTo>
                  <a:lnTo>
                    <a:pt x="386" y="12"/>
                  </a:lnTo>
                  <a:lnTo>
                    <a:pt x="391" y="12"/>
                  </a:lnTo>
                  <a:lnTo>
                    <a:pt x="391" y="6"/>
                  </a:lnTo>
                  <a:lnTo>
                    <a:pt x="397" y="6"/>
                  </a:lnTo>
                  <a:lnTo>
                    <a:pt x="403" y="6"/>
                  </a:lnTo>
                  <a:lnTo>
                    <a:pt x="403" y="0"/>
                  </a:lnTo>
                  <a:lnTo>
                    <a:pt x="408" y="0"/>
                  </a:lnTo>
                  <a:lnTo>
                    <a:pt x="414" y="0"/>
                  </a:lnTo>
                  <a:lnTo>
                    <a:pt x="420" y="0"/>
                  </a:lnTo>
                  <a:lnTo>
                    <a:pt x="425" y="0"/>
                  </a:lnTo>
                  <a:lnTo>
                    <a:pt x="431" y="6"/>
                  </a:lnTo>
                  <a:lnTo>
                    <a:pt x="431" y="12"/>
                  </a:lnTo>
                  <a:lnTo>
                    <a:pt x="442" y="17"/>
                  </a:lnTo>
                  <a:lnTo>
                    <a:pt x="448" y="17"/>
                  </a:lnTo>
                  <a:lnTo>
                    <a:pt x="448" y="23"/>
                  </a:lnTo>
                  <a:lnTo>
                    <a:pt x="448" y="29"/>
                  </a:lnTo>
                  <a:lnTo>
                    <a:pt x="448" y="34"/>
                  </a:lnTo>
                  <a:lnTo>
                    <a:pt x="454" y="34"/>
                  </a:lnTo>
                  <a:lnTo>
                    <a:pt x="448" y="40"/>
                  </a:lnTo>
                  <a:lnTo>
                    <a:pt x="454" y="46"/>
                  </a:lnTo>
                  <a:lnTo>
                    <a:pt x="459" y="51"/>
                  </a:lnTo>
                  <a:lnTo>
                    <a:pt x="459" y="57"/>
                  </a:lnTo>
                  <a:lnTo>
                    <a:pt x="465" y="57"/>
                  </a:lnTo>
                  <a:lnTo>
                    <a:pt x="471" y="57"/>
                  </a:lnTo>
                  <a:lnTo>
                    <a:pt x="471" y="63"/>
                  </a:lnTo>
                  <a:lnTo>
                    <a:pt x="476" y="63"/>
                  </a:lnTo>
                  <a:lnTo>
                    <a:pt x="476" y="68"/>
                  </a:lnTo>
                  <a:lnTo>
                    <a:pt x="488" y="74"/>
                  </a:lnTo>
                  <a:lnTo>
                    <a:pt x="488" y="80"/>
                  </a:lnTo>
                  <a:lnTo>
                    <a:pt x="493" y="85"/>
                  </a:lnTo>
                  <a:lnTo>
                    <a:pt x="499" y="85"/>
                  </a:lnTo>
                  <a:lnTo>
                    <a:pt x="505" y="85"/>
                  </a:lnTo>
                  <a:lnTo>
                    <a:pt x="505" y="91"/>
                  </a:lnTo>
                  <a:lnTo>
                    <a:pt x="510" y="91"/>
                  </a:lnTo>
                  <a:lnTo>
                    <a:pt x="516" y="97"/>
                  </a:lnTo>
                  <a:lnTo>
                    <a:pt x="522" y="97"/>
                  </a:lnTo>
                  <a:lnTo>
                    <a:pt x="527" y="97"/>
                  </a:lnTo>
                  <a:lnTo>
                    <a:pt x="527" y="91"/>
                  </a:lnTo>
                  <a:lnTo>
                    <a:pt x="533" y="85"/>
                  </a:lnTo>
                  <a:lnTo>
                    <a:pt x="539" y="80"/>
                  </a:lnTo>
                  <a:lnTo>
                    <a:pt x="544" y="80"/>
                  </a:lnTo>
                  <a:lnTo>
                    <a:pt x="544" y="74"/>
                  </a:lnTo>
                  <a:lnTo>
                    <a:pt x="550" y="74"/>
                  </a:lnTo>
                  <a:lnTo>
                    <a:pt x="550" y="68"/>
                  </a:lnTo>
                  <a:lnTo>
                    <a:pt x="556" y="68"/>
                  </a:lnTo>
                  <a:lnTo>
                    <a:pt x="561" y="68"/>
                  </a:lnTo>
                  <a:lnTo>
                    <a:pt x="567" y="63"/>
                  </a:lnTo>
                  <a:lnTo>
                    <a:pt x="573" y="68"/>
                  </a:lnTo>
                  <a:lnTo>
                    <a:pt x="578" y="74"/>
                  </a:lnTo>
                  <a:lnTo>
                    <a:pt x="578" y="80"/>
                  </a:lnTo>
                  <a:lnTo>
                    <a:pt x="578" y="85"/>
                  </a:lnTo>
                  <a:lnTo>
                    <a:pt x="573" y="85"/>
                  </a:lnTo>
                  <a:lnTo>
                    <a:pt x="567" y="91"/>
                  </a:lnTo>
                  <a:lnTo>
                    <a:pt x="556" y="97"/>
                  </a:lnTo>
                  <a:lnTo>
                    <a:pt x="550" y="102"/>
                  </a:lnTo>
                  <a:lnTo>
                    <a:pt x="544" y="108"/>
                  </a:lnTo>
                  <a:lnTo>
                    <a:pt x="539" y="114"/>
                  </a:lnTo>
                  <a:lnTo>
                    <a:pt x="533" y="119"/>
                  </a:lnTo>
                  <a:lnTo>
                    <a:pt x="533" y="125"/>
                  </a:lnTo>
                  <a:lnTo>
                    <a:pt x="527" y="131"/>
                  </a:lnTo>
                  <a:lnTo>
                    <a:pt x="527" y="136"/>
                  </a:lnTo>
                  <a:lnTo>
                    <a:pt x="527" y="142"/>
                  </a:lnTo>
                  <a:lnTo>
                    <a:pt x="522" y="142"/>
                  </a:lnTo>
                  <a:lnTo>
                    <a:pt x="516" y="142"/>
                  </a:lnTo>
                  <a:lnTo>
                    <a:pt x="516" y="148"/>
                  </a:lnTo>
                  <a:lnTo>
                    <a:pt x="516" y="153"/>
                  </a:lnTo>
                  <a:lnTo>
                    <a:pt x="516" y="159"/>
                  </a:lnTo>
                  <a:lnTo>
                    <a:pt x="516" y="165"/>
                  </a:lnTo>
                  <a:lnTo>
                    <a:pt x="516" y="170"/>
                  </a:lnTo>
                  <a:lnTo>
                    <a:pt x="516" y="176"/>
                  </a:lnTo>
                  <a:lnTo>
                    <a:pt x="516" y="182"/>
                  </a:lnTo>
                  <a:lnTo>
                    <a:pt x="522" y="187"/>
                  </a:lnTo>
                  <a:lnTo>
                    <a:pt x="522" y="193"/>
                  </a:lnTo>
                  <a:lnTo>
                    <a:pt x="527" y="193"/>
                  </a:lnTo>
                  <a:lnTo>
                    <a:pt x="527" y="199"/>
                  </a:lnTo>
                  <a:lnTo>
                    <a:pt x="527" y="204"/>
                  </a:lnTo>
                  <a:lnTo>
                    <a:pt x="527" y="210"/>
                  </a:lnTo>
                  <a:lnTo>
                    <a:pt x="533" y="210"/>
                  </a:lnTo>
                  <a:lnTo>
                    <a:pt x="533" y="216"/>
                  </a:lnTo>
                  <a:lnTo>
                    <a:pt x="539" y="221"/>
                  </a:lnTo>
                  <a:lnTo>
                    <a:pt x="544" y="227"/>
                  </a:lnTo>
                  <a:lnTo>
                    <a:pt x="544" y="233"/>
                  </a:lnTo>
                  <a:lnTo>
                    <a:pt x="550" y="238"/>
                  </a:lnTo>
                  <a:lnTo>
                    <a:pt x="556" y="244"/>
                  </a:lnTo>
                  <a:lnTo>
                    <a:pt x="556" y="250"/>
                  </a:lnTo>
                  <a:lnTo>
                    <a:pt x="561" y="261"/>
                  </a:lnTo>
                  <a:lnTo>
                    <a:pt x="561" y="267"/>
                  </a:lnTo>
                  <a:lnTo>
                    <a:pt x="567" y="272"/>
                  </a:lnTo>
                  <a:lnTo>
                    <a:pt x="567" y="278"/>
                  </a:lnTo>
                  <a:lnTo>
                    <a:pt x="573" y="278"/>
                  </a:lnTo>
                  <a:lnTo>
                    <a:pt x="573" y="284"/>
                  </a:lnTo>
                  <a:lnTo>
                    <a:pt x="578" y="289"/>
                  </a:lnTo>
                  <a:lnTo>
                    <a:pt x="578" y="295"/>
                  </a:lnTo>
                  <a:lnTo>
                    <a:pt x="584" y="301"/>
                  </a:lnTo>
                  <a:lnTo>
                    <a:pt x="590" y="306"/>
                  </a:lnTo>
                  <a:lnTo>
                    <a:pt x="590" y="312"/>
                  </a:lnTo>
                  <a:lnTo>
                    <a:pt x="595" y="318"/>
                  </a:lnTo>
                  <a:lnTo>
                    <a:pt x="601" y="318"/>
                  </a:lnTo>
                  <a:lnTo>
                    <a:pt x="601" y="323"/>
                  </a:lnTo>
                  <a:lnTo>
                    <a:pt x="607" y="323"/>
                  </a:lnTo>
                  <a:lnTo>
                    <a:pt x="607" y="329"/>
                  </a:lnTo>
                  <a:lnTo>
                    <a:pt x="612" y="335"/>
                  </a:lnTo>
                  <a:lnTo>
                    <a:pt x="618" y="340"/>
                  </a:lnTo>
                  <a:lnTo>
                    <a:pt x="624" y="346"/>
                  </a:lnTo>
                  <a:lnTo>
                    <a:pt x="629" y="346"/>
                  </a:lnTo>
                  <a:lnTo>
                    <a:pt x="629" y="352"/>
                  </a:lnTo>
                  <a:lnTo>
                    <a:pt x="629" y="357"/>
                  </a:lnTo>
                  <a:lnTo>
                    <a:pt x="635" y="363"/>
                  </a:lnTo>
                  <a:lnTo>
                    <a:pt x="641" y="374"/>
                  </a:lnTo>
                  <a:lnTo>
                    <a:pt x="635" y="374"/>
                  </a:lnTo>
                  <a:lnTo>
                    <a:pt x="641" y="386"/>
                  </a:lnTo>
                  <a:lnTo>
                    <a:pt x="641" y="391"/>
                  </a:lnTo>
                  <a:lnTo>
                    <a:pt x="646" y="397"/>
                  </a:lnTo>
                  <a:lnTo>
                    <a:pt x="652" y="403"/>
                  </a:lnTo>
                  <a:lnTo>
                    <a:pt x="658" y="403"/>
                  </a:lnTo>
                  <a:lnTo>
                    <a:pt x="663" y="408"/>
                  </a:lnTo>
                  <a:lnTo>
                    <a:pt x="658" y="408"/>
                  </a:lnTo>
                  <a:lnTo>
                    <a:pt x="658" y="414"/>
                  </a:lnTo>
                  <a:lnTo>
                    <a:pt x="652" y="414"/>
                  </a:lnTo>
                  <a:lnTo>
                    <a:pt x="652" y="420"/>
                  </a:lnTo>
                  <a:lnTo>
                    <a:pt x="646" y="420"/>
                  </a:lnTo>
                  <a:lnTo>
                    <a:pt x="646" y="431"/>
                  </a:lnTo>
                  <a:lnTo>
                    <a:pt x="646" y="442"/>
                  </a:lnTo>
                  <a:lnTo>
                    <a:pt x="641" y="442"/>
                  </a:lnTo>
                  <a:lnTo>
                    <a:pt x="635" y="448"/>
                  </a:lnTo>
                  <a:lnTo>
                    <a:pt x="629" y="448"/>
                  </a:lnTo>
                  <a:lnTo>
                    <a:pt x="624" y="448"/>
                  </a:lnTo>
                  <a:lnTo>
                    <a:pt x="618" y="448"/>
                  </a:lnTo>
                  <a:lnTo>
                    <a:pt x="612" y="448"/>
                  </a:lnTo>
                  <a:lnTo>
                    <a:pt x="612" y="454"/>
                  </a:lnTo>
                  <a:lnTo>
                    <a:pt x="612" y="459"/>
                  </a:lnTo>
                  <a:lnTo>
                    <a:pt x="607" y="459"/>
                  </a:lnTo>
                  <a:lnTo>
                    <a:pt x="607" y="465"/>
                  </a:lnTo>
                  <a:lnTo>
                    <a:pt x="607" y="471"/>
                  </a:lnTo>
                  <a:lnTo>
                    <a:pt x="601" y="471"/>
                  </a:lnTo>
                  <a:lnTo>
                    <a:pt x="595" y="471"/>
                  </a:lnTo>
                  <a:lnTo>
                    <a:pt x="590" y="471"/>
                  </a:lnTo>
                  <a:lnTo>
                    <a:pt x="590" y="476"/>
                  </a:lnTo>
                  <a:lnTo>
                    <a:pt x="584" y="476"/>
                  </a:lnTo>
                  <a:lnTo>
                    <a:pt x="584" y="482"/>
                  </a:lnTo>
                  <a:lnTo>
                    <a:pt x="578" y="482"/>
                  </a:lnTo>
                  <a:lnTo>
                    <a:pt x="578" y="476"/>
                  </a:lnTo>
                  <a:lnTo>
                    <a:pt x="578" y="471"/>
                  </a:lnTo>
                  <a:lnTo>
                    <a:pt x="578" y="465"/>
                  </a:lnTo>
                  <a:lnTo>
                    <a:pt x="578" y="459"/>
                  </a:lnTo>
                  <a:lnTo>
                    <a:pt x="573" y="459"/>
                  </a:lnTo>
                  <a:lnTo>
                    <a:pt x="573" y="454"/>
                  </a:lnTo>
                  <a:lnTo>
                    <a:pt x="573" y="448"/>
                  </a:lnTo>
                  <a:lnTo>
                    <a:pt x="567" y="454"/>
                  </a:lnTo>
                  <a:lnTo>
                    <a:pt x="567" y="448"/>
                  </a:lnTo>
                  <a:lnTo>
                    <a:pt x="561" y="448"/>
                  </a:lnTo>
                  <a:lnTo>
                    <a:pt x="556" y="448"/>
                  </a:lnTo>
                  <a:lnTo>
                    <a:pt x="550" y="442"/>
                  </a:lnTo>
                  <a:lnTo>
                    <a:pt x="544" y="442"/>
                  </a:lnTo>
                  <a:lnTo>
                    <a:pt x="544" y="448"/>
                  </a:lnTo>
                  <a:lnTo>
                    <a:pt x="539" y="448"/>
                  </a:lnTo>
                  <a:lnTo>
                    <a:pt x="533" y="448"/>
                  </a:lnTo>
                  <a:lnTo>
                    <a:pt x="533" y="454"/>
                  </a:lnTo>
                  <a:lnTo>
                    <a:pt x="533" y="459"/>
                  </a:lnTo>
                  <a:lnTo>
                    <a:pt x="527" y="459"/>
                  </a:lnTo>
                  <a:lnTo>
                    <a:pt x="522" y="459"/>
                  </a:lnTo>
                  <a:lnTo>
                    <a:pt x="522" y="465"/>
                  </a:lnTo>
                  <a:lnTo>
                    <a:pt x="522" y="471"/>
                  </a:lnTo>
                  <a:lnTo>
                    <a:pt x="522" y="476"/>
                  </a:lnTo>
                  <a:lnTo>
                    <a:pt x="516" y="482"/>
                  </a:lnTo>
                  <a:lnTo>
                    <a:pt x="510" y="482"/>
                  </a:lnTo>
                  <a:lnTo>
                    <a:pt x="505" y="488"/>
                  </a:lnTo>
                  <a:lnTo>
                    <a:pt x="499" y="488"/>
                  </a:lnTo>
                  <a:lnTo>
                    <a:pt x="493" y="488"/>
                  </a:lnTo>
                  <a:lnTo>
                    <a:pt x="488" y="482"/>
                  </a:lnTo>
                  <a:lnTo>
                    <a:pt x="488" y="476"/>
                  </a:lnTo>
                  <a:lnTo>
                    <a:pt x="482" y="476"/>
                  </a:lnTo>
                  <a:lnTo>
                    <a:pt x="476" y="476"/>
                  </a:lnTo>
                  <a:lnTo>
                    <a:pt x="476" y="482"/>
                  </a:lnTo>
                  <a:lnTo>
                    <a:pt x="476" y="488"/>
                  </a:lnTo>
                  <a:lnTo>
                    <a:pt x="471" y="499"/>
                  </a:lnTo>
                  <a:lnTo>
                    <a:pt x="471" y="505"/>
                  </a:lnTo>
                  <a:lnTo>
                    <a:pt x="471" y="511"/>
                  </a:lnTo>
                  <a:lnTo>
                    <a:pt x="471" y="516"/>
                  </a:lnTo>
                  <a:lnTo>
                    <a:pt x="471" y="522"/>
                  </a:lnTo>
                  <a:lnTo>
                    <a:pt x="471" y="528"/>
                  </a:lnTo>
                  <a:lnTo>
                    <a:pt x="465" y="528"/>
                  </a:lnTo>
                  <a:lnTo>
                    <a:pt x="465" y="533"/>
                  </a:lnTo>
                  <a:lnTo>
                    <a:pt x="465" y="539"/>
                  </a:lnTo>
                  <a:lnTo>
                    <a:pt x="459" y="539"/>
                  </a:lnTo>
                  <a:lnTo>
                    <a:pt x="459" y="545"/>
                  </a:lnTo>
                  <a:lnTo>
                    <a:pt x="459" y="550"/>
                  </a:lnTo>
                  <a:lnTo>
                    <a:pt x="465" y="556"/>
                  </a:lnTo>
                  <a:lnTo>
                    <a:pt x="471" y="556"/>
                  </a:lnTo>
                  <a:lnTo>
                    <a:pt x="476" y="567"/>
                  </a:lnTo>
                  <a:lnTo>
                    <a:pt x="482" y="567"/>
                  </a:lnTo>
                  <a:lnTo>
                    <a:pt x="482" y="573"/>
                  </a:lnTo>
                  <a:lnTo>
                    <a:pt x="488" y="573"/>
                  </a:lnTo>
                  <a:lnTo>
                    <a:pt x="488" y="579"/>
                  </a:lnTo>
                  <a:lnTo>
                    <a:pt x="493" y="584"/>
                  </a:lnTo>
                  <a:lnTo>
                    <a:pt x="493" y="590"/>
                  </a:lnTo>
                  <a:lnTo>
                    <a:pt x="493" y="596"/>
                  </a:lnTo>
                  <a:lnTo>
                    <a:pt x="499" y="596"/>
                  </a:lnTo>
                  <a:lnTo>
                    <a:pt x="505" y="601"/>
                  </a:lnTo>
                  <a:lnTo>
                    <a:pt x="505" y="607"/>
                  </a:lnTo>
                  <a:lnTo>
                    <a:pt x="499" y="613"/>
                  </a:lnTo>
                  <a:lnTo>
                    <a:pt x="499" y="624"/>
                  </a:lnTo>
                  <a:lnTo>
                    <a:pt x="499" y="630"/>
                  </a:lnTo>
                  <a:lnTo>
                    <a:pt x="493" y="630"/>
                  </a:lnTo>
                  <a:lnTo>
                    <a:pt x="493" y="635"/>
                  </a:lnTo>
                  <a:lnTo>
                    <a:pt x="493" y="641"/>
                  </a:lnTo>
                  <a:lnTo>
                    <a:pt x="493" y="647"/>
                  </a:lnTo>
                  <a:lnTo>
                    <a:pt x="493" y="658"/>
                  </a:lnTo>
                  <a:lnTo>
                    <a:pt x="499" y="658"/>
                  </a:lnTo>
                  <a:lnTo>
                    <a:pt x="493" y="664"/>
                  </a:lnTo>
                  <a:lnTo>
                    <a:pt x="493" y="669"/>
                  </a:lnTo>
                  <a:lnTo>
                    <a:pt x="493" y="675"/>
                  </a:lnTo>
                  <a:lnTo>
                    <a:pt x="493" y="681"/>
                  </a:lnTo>
                  <a:lnTo>
                    <a:pt x="499" y="692"/>
                  </a:lnTo>
                  <a:lnTo>
                    <a:pt x="505" y="698"/>
                  </a:lnTo>
                  <a:lnTo>
                    <a:pt x="510" y="709"/>
                  </a:lnTo>
                  <a:lnTo>
                    <a:pt x="516" y="720"/>
                  </a:lnTo>
                  <a:lnTo>
                    <a:pt x="516" y="726"/>
                  </a:lnTo>
                  <a:lnTo>
                    <a:pt x="510" y="726"/>
                  </a:lnTo>
                  <a:lnTo>
                    <a:pt x="510" y="732"/>
                  </a:lnTo>
                  <a:lnTo>
                    <a:pt x="505" y="737"/>
                  </a:lnTo>
                  <a:lnTo>
                    <a:pt x="505" y="726"/>
                  </a:lnTo>
                  <a:lnTo>
                    <a:pt x="499" y="726"/>
                  </a:lnTo>
                  <a:lnTo>
                    <a:pt x="493" y="720"/>
                  </a:lnTo>
                  <a:lnTo>
                    <a:pt x="488" y="720"/>
                  </a:lnTo>
                  <a:lnTo>
                    <a:pt x="482" y="726"/>
                  </a:lnTo>
                  <a:lnTo>
                    <a:pt x="476" y="726"/>
                  </a:lnTo>
                  <a:lnTo>
                    <a:pt x="476" y="732"/>
                  </a:lnTo>
                  <a:lnTo>
                    <a:pt x="471" y="732"/>
                  </a:lnTo>
                  <a:lnTo>
                    <a:pt x="465" y="737"/>
                  </a:lnTo>
                  <a:lnTo>
                    <a:pt x="459" y="737"/>
                  </a:lnTo>
                  <a:lnTo>
                    <a:pt x="454" y="743"/>
                  </a:lnTo>
                  <a:lnTo>
                    <a:pt x="454" y="749"/>
                  </a:lnTo>
                  <a:lnTo>
                    <a:pt x="448" y="749"/>
                  </a:lnTo>
                  <a:lnTo>
                    <a:pt x="442" y="754"/>
                  </a:lnTo>
                  <a:lnTo>
                    <a:pt x="437" y="754"/>
                  </a:lnTo>
                  <a:lnTo>
                    <a:pt x="437" y="749"/>
                  </a:lnTo>
                  <a:lnTo>
                    <a:pt x="431" y="749"/>
                  </a:lnTo>
                  <a:lnTo>
                    <a:pt x="425" y="754"/>
                  </a:lnTo>
                  <a:lnTo>
                    <a:pt x="420" y="754"/>
                  </a:lnTo>
                  <a:lnTo>
                    <a:pt x="408" y="760"/>
                  </a:lnTo>
                  <a:lnTo>
                    <a:pt x="397" y="760"/>
                  </a:lnTo>
                  <a:lnTo>
                    <a:pt x="391" y="760"/>
                  </a:lnTo>
                  <a:lnTo>
                    <a:pt x="386" y="760"/>
                  </a:lnTo>
                  <a:lnTo>
                    <a:pt x="380" y="760"/>
                  </a:lnTo>
                  <a:lnTo>
                    <a:pt x="374" y="760"/>
                  </a:lnTo>
                  <a:lnTo>
                    <a:pt x="363" y="754"/>
                  </a:lnTo>
                  <a:lnTo>
                    <a:pt x="357" y="754"/>
                  </a:lnTo>
                  <a:lnTo>
                    <a:pt x="352" y="754"/>
                  </a:lnTo>
                  <a:lnTo>
                    <a:pt x="352" y="749"/>
                  </a:lnTo>
                  <a:lnTo>
                    <a:pt x="352" y="743"/>
                  </a:lnTo>
                  <a:lnTo>
                    <a:pt x="357" y="743"/>
                  </a:lnTo>
                  <a:lnTo>
                    <a:pt x="363" y="737"/>
                  </a:lnTo>
                  <a:lnTo>
                    <a:pt x="363" y="732"/>
                  </a:lnTo>
                  <a:lnTo>
                    <a:pt x="363" y="726"/>
                  </a:lnTo>
                  <a:lnTo>
                    <a:pt x="363" y="720"/>
                  </a:lnTo>
                  <a:lnTo>
                    <a:pt x="363" y="715"/>
                  </a:lnTo>
                  <a:lnTo>
                    <a:pt x="363" y="709"/>
                  </a:lnTo>
                  <a:lnTo>
                    <a:pt x="363" y="703"/>
                  </a:lnTo>
                  <a:lnTo>
                    <a:pt x="363" y="698"/>
                  </a:lnTo>
                  <a:lnTo>
                    <a:pt x="363" y="692"/>
                  </a:lnTo>
                  <a:lnTo>
                    <a:pt x="363" y="681"/>
                  </a:lnTo>
                  <a:lnTo>
                    <a:pt x="357" y="681"/>
                  </a:lnTo>
                  <a:lnTo>
                    <a:pt x="352" y="681"/>
                  </a:lnTo>
                  <a:lnTo>
                    <a:pt x="352" y="675"/>
                  </a:lnTo>
                  <a:lnTo>
                    <a:pt x="352" y="669"/>
                  </a:lnTo>
                  <a:lnTo>
                    <a:pt x="346" y="669"/>
                  </a:lnTo>
                  <a:lnTo>
                    <a:pt x="340" y="664"/>
                  </a:lnTo>
                  <a:lnTo>
                    <a:pt x="340" y="658"/>
                  </a:lnTo>
                  <a:lnTo>
                    <a:pt x="340" y="652"/>
                  </a:lnTo>
                  <a:lnTo>
                    <a:pt x="340" y="647"/>
                  </a:lnTo>
                  <a:lnTo>
                    <a:pt x="335" y="647"/>
                  </a:lnTo>
                  <a:lnTo>
                    <a:pt x="335" y="641"/>
                  </a:lnTo>
                  <a:lnTo>
                    <a:pt x="335" y="635"/>
                  </a:lnTo>
                  <a:lnTo>
                    <a:pt x="329" y="635"/>
                  </a:lnTo>
                  <a:lnTo>
                    <a:pt x="329" y="630"/>
                  </a:lnTo>
                  <a:lnTo>
                    <a:pt x="323" y="630"/>
                  </a:lnTo>
                  <a:lnTo>
                    <a:pt x="318" y="630"/>
                  </a:lnTo>
                  <a:lnTo>
                    <a:pt x="312" y="630"/>
                  </a:lnTo>
                  <a:lnTo>
                    <a:pt x="306" y="624"/>
                  </a:lnTo>
                  <a:lnTo>
                    <a:pt x="301" y="624"/>
                  </a:lnTo>
                  <a:lnTo>
                    <a:pt x="295" y="624"/>
                  </a:lnTo>
                  <a:lnTo>
                    <a:pt x="284" y="624"/>
                  </a:lnTo>
                  <a:lnTo>
                    <a:pt x="272" y="630"/>
                  </a:lnTo>
                  <a:lnTo>
                    <a:pt x="267" y="630"/>
                  </a:lnTo>
                  <a:lnTo>
                    <a:pt x="261" y="630"/>
                  </a:lnTo>
                  <a:lnTo>
                    <a:pt x="255" y="630"/>
                  </a:lnTo>
                  <a:lnTo>
                    <a:pt x="255" y="624"/>
                  </a:lnTo>
                  <a:lnTo>
                    <a:pt x="250" y="624"/>
                  </a:lnTo>
                  <a:lnTo>
                    <a:pt x="250" y="618"/>
                  </a:lnTo>
                  <a:lnTo>
                    <a:pt x="250" y="613"/>
                  </a:lnTo>
                  <a:lnTo>
                    <a:pt x="244" y="613"/>
                  </a:lnTo>
                  <a:lnTo>
                    <a:pt x="244" y="607"/>
                  </a:lnTo>
                  <a:lnTo>
                    <a:pt x="238" y="607"/>
                  </a:lnTo>
                  <a:lnTo>
                    <a:pt x="233" y="607"/>
                  </a:lnTo>
                  <a:lnTo>
                    <a:pt x="233" y="613"/>
                  </a:lnTo>
                  <a:lnTo>
                    <a:pt x="227" y="613"/>
                  </a:lnTo>
                  <a:lnTo>
                    <a:pt x="227" y="624"/>
                  </a:lnTo>
                  <a:lnTo>
                    <a:pt x="227" y="630"/>
                  </a:lnTo>
                  <a:lnTo>
                    <a:pt x="221" y="635"/>
                  </a:lnTo>
                  <a:lnTo>
                    <a:pt x="221" y="641"/>
                  </a:lnTo>
                  <a:lnTo>
                    <a:pt x="216" y="647"/>
                  </a:lnTo>
                  <a:lnTo>
                    <a:pt x="210" y="652"/>
                  </a:lnTo>
                  <a:lnTo>
                    <a:pt x="204" y="658"/>
                  </a:lnTo>
                  <a:lnTo>
                    <a:pt x="199" y="658"/>
                  </a:lnTo>
                  <a:lnTo>
                    <a:pt x="193" y="658"/>
                  </a:lnTo>
                  <a:lnTo>
                    <a:pt x="187" y="658"/>
                  </a:lnTo>
                  <a:lnTo>
                    <a:pt x="182" y="658"/>
                  </a:lnTo>
                  <a:lnTo>
                    <a:pt x="176" y="658"/>
                  </a:lnTo>
                  <a:lnTo>
                    <a:pt x="170" y="658"/>
                  </a:lnTo>
                  <a:lnTo>
                    <a:pt x="159" y="652"/>
                  </a:lnTo>
                  <a:lnTo>
                    <a:pt x="159" y="647"/>
                  </a:lnTo>
                  <a:lnTo>
                    <a:pt x="153" y="647"/>
                  </a:lnTo>
                  <a:lnTo>
                    <a:pt x="153" y="641"/>
                  </a:lnTo>
                  <a:lnTo>
                    <a:pt x="148" y="641"/>
                  </a:lnTo>
                  <a:lnTo>
                    <a:pt x="142" y="630"/>
                  </a:lnTo>
                  <a:lnTo>
                    <a:pt x="136" y="624"/>
                  </a:lnTo>
                  <a:lnTo>
                    <a:pt x="131" y="624"/>
                  </a:lnTo>
                  <a:lnTo>
                    <a:pt x="131" y="618"/>
                  </a:lnTo>
                  <a:lnTo>
                    <a:pt x="131" y="613"/>
                  </a:lnTo>
                  <a:lnTo>
                    <a:pt x="125" y="613"/>
                  </a:lnTo>
                  <a:lnTo>
                    <a:pt x="125" y="601"/>
                  </a:lnTo>
                  <a:lnTo>
                    <a:pt x="119" y="601"/>
                  </a:lnTo>
                  <a:lnTo>
                    <a:pt x="119" y="596"/>
                  </a:lnTo>
                  <a:lnTo>
                    <a:pt x="114" y="596"/>
                  </a:lnTo>
                  <a:lnTo>
                    <a:pt x="114" y="590"/>
                  </a:lnTo>
                  <a:lnTo>
                    <a:pt x="114" y="584"/>
                  </a:lnTo>
                  <a:lnTo>
                    <a:pt x="108" y="584"/>
                  </a:lnTo>
                  <a:lnTo>
                    <a:pt x="102" y="584"/>
                  </a:lnTo>
                  <a:lnTo>
                    <a:pt x="102" y="579"/>
                  </a:lnTo>
                  <a:lnTo>
                    <a:pt x="102" y="573"/>
                  </a:lnTo>
                  <a:lnTo>
                    <a:pt x="97" y="573"/>
                  </a:lnTo>
                  <a:lnTo>
                    <a:pt x="97" y="567"/>
                  </a:lnTo>
                  <a:lnTo>
                    <a:pt x="97" y="562"/>
                  </a:lnTo>
                  <a:lnTo>
                    <a:pt x="91" y="562"/>
                  </a:lnTo>
                  <a:lnTo>
                    <a:pt x="91" y="556"/>
                  </a:lnTo>
                  <a:lnTo>
                    <a:pt x="91" y="550"/>
                  </a:lnTo>
                  <a:lnTo>
                    <a:pt x="85" y="545"/>
                  </a:lnTo>
                  <a:lnTo>
                    <a:pt x="85" y="539"/>
                  </a:lnTo>
                  <a:lnTo>
                    <a:pt x="85" y="528"/>
                  </a:lnTo>
                  <a:lnTo>
                    <a:pt x="91" y="522"/>
                  </a:lnTo>
                  <a:lnTo>
                    <a:pt x="91" y="516"/>
                  </a:lnTo>
                  <a:lnTo>
                    <a:pt x="91" y="511"/>
                  </a:lnTo>
                  <a:lnTo>
                    <a:pt x="91" y="505"/>
                  </a:lnTo>
                  <a:lnTo>
                    <a:pt x="97" y="505"/>
                  </a:lnTo>
                  <a:lnTo>
                    <a:pt x="97" y="499"/>
                  </a:lnTo>
                  <a:lnTo>
                    <a:pt x="97" y="493"/>
                  </a:lnTo>
                  <a:lnTo>
                    <a:pt x="97" y="488"/>
                  </a:lnTo>
                  <a:lnTo>
                    <a:pt x="97" y="482"/>
                  </a:lnTo>
                  <a:lnTo>
                    <a:pt x="91" y="476"/>
                  </a:lnTo>
                  <a:lnTo>
                    <a:pt x="85" y="471"/>
                  </a:lnTo>
                  <a:lnTo>
                    <a:pt x="80" y="471"/>
                  </a:lnTo>
                  <a:lnTo>
                    <a:pt x="74" y="476"/>
                  </a:lnTo>
                  <a:lnTo>
                    <a:pt x="74" y="488"/>
                  </a:lnTo>
                  <a:lnTo>
                    <a:pt x="68" y="493"/>
                  </a:lnTo>
                  <a:lnTo>
                    <a:pt x="68" y="499"/>
                  </a:lnTo>
                  <a:lnTo>
                    <a:pt x="68" y="505"/>
                  </a:lnTo>
                  <a:lnTo>
                    <a:pt x="63" y="505"/>
                  </a:lnTo>
                  <a:lnTo>
                    <a:pt x="57" y="505"/>
                  </a:lnTo>
                  <a:lnTo>
                    <a:pt x="57" y="499"/>
                  </a:lnTo>
                  <a:lnTo>
                    <a:pt x="57" y="493"/>
                  </a:lnTo>
                  <a:lnTo>
                    <a:pt x="57" y="488"/>
                  </a:lnTo>
                  <a:lnTo>
                    <a:pt x="57" y="482"/>
                  </a:lnTo>
                  <a:lnTo>
                    <a:pt x="57" y="476"/>
                  </a:lnTo>
                  <a:lnTo>
                    <a:pt x="57" y="465"/>
                  </a:lnTo>
                  <a:lnTo>
                    <a:pt x="57" y="459"/>
                  </a:lnTo>
                  <a:lnTo>
                    <a:pt x="57" y="454"/>
                  </a:lnTo>
                  <a:lnTo>
                    <a:pt x="51" y="448"/>
                  </a:lnTo>
                  <a:lnTo>
                    <a:pt x="51" y="442"/>
                  </a:lnTo>
                  <a:lnTo>
                    <a:pt x="46" y="442"/>
                  </a:lnTo>
                  <a:lnTo>
                    <a:pt x="51" y="437"/>
                  </a:lnTo>
                  <a:lnTo>
                    <a:pt x="40" y="431"/>
                  </a:lnTo>
                  <a:lnTo>
                    <a:pt x="34" y="431"/>
                  </a:lnTo>
                  <a:lnTo>
                    <a:pt x="29" y="431"/>
                  </a:lnTo>
                  <a:lnTo>
                    <a:pt x="23" y="431"/>
                  </a:lnTo>
                  <a:lnTo>
                    <a:pt x="17" y="431"/>
                  </a:lnTo>
                  <a:lnTo>
                    <a:pt x="12" y="431"/>
                  </a:lnTo>
                  <a:lnTo>
                    <a:pt x="6" y="431"/>
                  </a:lnTo>
                  <a:lnTo>
                    <a:pt x="0" y="43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8" name="Freeform 17"/>
            <p:cNvSpPr>
              <a:spLocks/>
            </p:cNvSpPr>
            <p:nvPr/>
          </p:nvSpPr>
          <p:spPr bwMode="gray">
            <a:xfrm>
              <a:off x="913490" y="651649"/>
              <a:ext cx="1552964" cy="1445005"/>
            </a:xfrm>
            <a:custGeom>
              <a:avLst/>
              <a:gdLst>
                <a:gd name="T0" fmla="*/ 2147483647 w 1106"/>
                <a:gd name="T1" fmla="*/ 2147483647 h 1083"/>
                <a:gd name="T2" fmla="*/ 2147483647 w 1106"/>
                <a:gd name="T3" fmla="*/ 2147483647 h 1083"/>
                <a:gd name="T4" fmla="*/ 2147483647 w 1106"/>
                <a:gd name="T5" fmla="*/ 2147483647 h 1083"/>
                <a:gd name="T6" fmla="*/ 2147483647 w 1106"/>
                <a:gd name="T7" fmla="*/ 2147483647 h 1083"/>
                <a:gd name="T8" fmla="*/ 2147483647 w 1106"/>
                <a:gd name="T9" fmla="*/ 2147483647 h 1083"/>
                <a:gd name="T10" fmla="*/ 2147483647 w 1106"/>
                <a:gd name="T11" fmla="*/ 2147483647 h 1083"/>
                <a:gd name="T12" fmla="*/ 2147483647 w 1106"/>
                <a:gd name="T13" fmla="*/ 2147483647 h 1083"/>
                <a:gd name="T14" fmla="*/ 2147483647 w 1106"/>
                <a:gd name="T15" fmla="*/ 2147483647 h 1083"/>
                <a:gd name="T16" fmla="*/ 2147483647 w 1106"/>
                <a:gd name="T17" fmla="*/ 2147483647 h 1083"/>
                <a:gd name="T18" fmla="*/ 2147483647 w 1106"/>
                <a:gd name="T19" fmla="*/ 2147483647 h 1083"/>
                <a:gd name="T20" fmla="*/ 2147483647 w 1106"/>
                <a:gd name="T21" fmla="*/ 2147483647 h 1083"/>
                <a:gd name="T22" fmla="*/ 2147483647 w 1106"/>
                <a:gd name="T23" fmla="*/ 2147483647 h 1083"/>
                <a:gd name="T24" fmla="*/ 2147483647 w 1106"/>
                <a:gd name="T25" fmla="*/ 2147483647 h 1083"/>
                <a:gd name="T26" fmla="*/ 2147483647 w 1106"/>
                <a:gd name="T27" fmla="*/ 2147483647 h 1083"/>
                <a:gd name="T28" fmla="*/ 2147483647 w 1106"/>
                <a:gd name="T29" fmla="*/ 2147483647 h 1083"/>
                <a:gd name="T30" fmla="*/ 2147483647 w 1106"/>
                <a:gd name="T31" fmla="*/ 2147483647 h 1083"/>
                <a:gd name="T32" fmla="*/ 2147483647 w 1106"/>
                <a:gd name="T33" fmla="*/ 2147483647 h 1083"/>
                <a:gd name="T34" fmla="*/ 2147483647 w 1106"/>
                <a:gd name="T35" fmla="*/ 2147483647 h 1083"/>
                <a:gd name="T36" fmla="*/ 2147483647 w 1106"/>
                <a:gd name="T37" fmla="*/ 2147483647 h 1083"/>
                <a:gd name="T38" fmla="*/ 2147483647 w 1106"/>
                <a:gd name="T39" fmla="*/ 2147483647 h 1083"/>
                <a:gd name="T40" fmla="*/ 2147483647 w 1106"/>
                <a:gd name="T41" fmla="*/ 2147483647 h 1083"/>
                <a:gd name="T42" fmla="*/ 2147483647 w 1106"/>
                <a:gd name="T43" fmla="*/ 2147483647 h 1083"/>
                <a:gd name="T44" fmla="*/ 2147483647 w 1106"/>
                <a:gd name="T45" fmla="*/ 2147483647 h 1083"/>
                <a:gd name="T46" fmla="*/ 2147483647 w 1106"/>
                <a:gd name="T47" fmla="*/ 2147483647 h 1083"/>
                <a:gd name="T48" fmla="*/ 2147483647 w 1106"/>
                <a:gd name="T49" fmla="*/ 2147483647 h 1083"/>
                <a:gd name="T50" fmla="*/ 2147483647 w 1106"/>
                <a:gd name="T51" fmla="*/ 2147483647 h 1083"/>
                <a:gd name="T52" fmla="*/ 2147483647 w 1106"/>
                <a:gd name="T53" fmla="*/ 2147483647 h 1083"/>
                <a:gd name="T54" fmla="*/ 2147483647 w 1106"/>
                <a:gd name="T55" fmla="*/ 2147483647 h 1083"/>
                <a:gd name="T56" fmla="*/ 2147483647 w 1106"/>
                <a:gd name="T57" fmla="*/ 2147483647 h 1083"/>
                <a:gd name="T58" fmla="*/ 2147483647 w 1106"/>
                <a:gd name="T59" fmla="*/ 2147483647 h 1083"/>
                <a:gd name="T60" fmla="*/ 2147483647 w 1106"/>
                <a:gd name="T61" fmla="*/ 2147483647 h 1083"/>
                <a:gd name="T62" fmla="*/ 2147483647 w 1106"/>
                <a:gd name="T63" fmla="*/ 2147483647 h 1083"/>
                <a:gd name="T64" fmla="*/ 2147483647 w 1106"/>
                <a:gd name="T65" fmla="*/ 2147483647 h 1083"/>
                <a:gd name="T66" fmla="*/ 2147483647 w 1106"/>
                <a:gd name="T67" fmla="*/ 2147483647 h 1083"/>
                <a:gd name="T68" fmla="*/ 2147483647 w 1106"/>
                <a:gd name="T69" fmla="*/ 2147483647 h 1083"/>
                <a:gd name="T70" fmla="*/ 2147483647 w 1106"/>
                <a:gd name="T71" fmla="*/ 2147483647 h 1083"/>
                <a:gd name="T72" fmla="*/ 2147483647 w 1106"/>
                <a:gd name="T73" fmla="*/ 2147483647 h 1083"/>
                <a:gd name="T74" fmla="*/ 2147483647 w 1106"/>
                <a:gd name="T75" fmla="*/ 2147483647 h 1083"/>
                <a:gd name="T76" fmla="*/ 2147483647 w 1106"/>
                <a:gd name="T77" fmla="*/ 2147483647 h 1083"/>
                <a:gd name="T78" fmla="*/ 2147483647 w 1106"/>
                <a:gd name="T79" fmla="*/ 2147483647 h 1083"/>
                <a:gd name="T80" fmla="*/ 2147483647 w 1106"/>
                <a:gd name="T81" fmla="*/ 2147483647 h 1083"/>
                <a:gd name="T82" fmla="*/ 2147483647 w 1106"/>
                <a:gd name="T83" fmla="*/ 2147483647 h 1083"/>
                <a:gd name="T84" fmla="*/ 2147483647 w 1106"/>
                <a:gd name="T85" fmla="*/ 2147483647 h 1083"/>
                <a:gd name="T86" fmla="*/ 2147483647 w 1106"/>
                <a:gd name="T87" fmla="*/ 2147483647 h 1083"/>
                <a:gd name="T88" fmla="*/ 2147483647 w 1106"/>
                <a:gd name="T89" fmla="*/ 2147483647 h 1083"/>
                <a:gd name="T90" fmla="*/ 2147483647 w 1106"/>
                <a:gd name="T91" fmla="*/ 2147483647 h 1083"/>
                <a:gd name="T92" fmla="*/ 2147483647 w 1106"/>
                <a:gd name="T93" fmla="*/ 2147483647 h 1083"/>
                <a:gd name="T94" fmla="*/ 2147483647 w 1106"/>
                <a:gd name="T95" fmla="*/ 2147483647 h 1083"/>
                <a:gd name="T96" fmla="*/ 2147483647 w 1106"/>
                <a:gd name="T97" fmla="*/ 2147483647 h 1083"/>
                <a:gd name="T98" fmla="*/ 2147483647 w 1106"/>
                <a:gd name="T99" fmla="*/ 2147483647 h 1083"/>
                <a:gd name="T100" fmla="*/ 2147483647 w 1106"/>
                <a:gd name="T101" fmla="*/ 2147483647 h 1083"/>
                <a:gd name="T102" fmla="*/ 2147483647 w 1106"/>
                <a:gd name="T103" fmla="*/ 2147483647 h 1083"/>
                <a:gd name="T104" fmla="*/ 2147483647 w 1106"/>
                <a:gd name="T105" fmla="*/ 2147483647 h 1083"/>
                <a:gd name="T106" fmla="*/ 2147483647 w 1106"/>
                <a:gd name="T107" fmla="*/ 2147483647 h 1083"/>
                <a:gd name="T108" fmla="*/ 2147483647 w 1106"/>
                <a:gd name="T109" fmla="*/ 2147483647 h 1083"/>
                <a:gd name="T110" fmla="*/ 2147483647 w 1106"/>
                <a:gd name="T111" fmla="*/ 2147483647 h 1083"/>
                <a:gd name="T112" fmla="*/ 2147483647 w 1106"/>
                <a:gd name="T113" fmla="*/ 2147483647 h 1083"/>
                <a:gd name="T114" fmla="*/ 2147483647 w 1106"/>
                <a:gd name="T115" fmla="*/ 2147483647 h 108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06"/>
                <a:gd name="T175" fmla="*/ 0 h 1083"/>
                <a:gd name="T176" fmla="*/ 1106 w 1106"/>
                <a:gd name="T177" fmla="*/ 1083 h 108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06" h="1083">
                  <a:moveTo>
                    <a:pt x="0" y="232"/>
                  </a:moveTo>
                  <a:lnTo>
                    <a:pt x="0" y="198"/>
                  </a:lnTo>
                  <a:lnTo>
                    <a:pt x="0" y="187"/>
                  </a:lnTo>
                  <a:lnTo>
                    <a:pt x="0" y="164"/>
                  </a:lnTo>
                  <a:lnTo>
                    <a:pt x="0" y="159"/>
                  </a:lnTo>
                  <a:lnTo>
                    <a:pt x="0" y="153"/>
                  </a:lnTo>
                  <a:lnTo>
                    <a:pt x="0" y="147"/>
                  </a:lnTo>
                  <a:lnTo>
                    <a:pt x="17" y="147"/>
                  </a:lnTo>
                  <a:lnTo>
                    <a:pt x="23" y="147"/>
                  </a:lnTo>
                  <a:lnTo>
                    <a:pt x="29" y="147"/>
                  </a:lnTo>
                  <a:lnTo>
                    <a:pt x="46" y="136"/>
                  </a:lnTo>
                  <a:lnTo>
                    <a:pt x="57" y="119"/>
                  </a:lnTo>
                  <a:lnTo>
                    <a:pt x="63" y="119"/>
                  </a:lnTo>
                  <a:lnTo>
                    <a:pt x="68" y="113"/>
                  </a:lnTo>
                  <a:lnTo>
                    <a:pt x="80" y="102"/>
                  </a:lnTo>
                  <a:lnTo>
                    <a:pt x="97" y="85"/>
                  </a:lnTo>
                  <a:lnTo>
                    <a:pt x="102" y="85"/>
                  </a:lnTo>
                  <a:lnTo>
                    <a:pt x="108" y="79"/>
                  </a:lnTo>
                  <a:lnTo>
                    <a:pt x="119" y="68"/>
                  </a:lnTo>
                  <a:lnTo>
                    <a:pt x="125" y="68"/>
                  </a:lnTo>
                  <a:lnTo>
                    <a:pt x="142" y="62"/>
                  </a:lnTo>
                  <a:lnTo>
                    <a:pt x="148" y="62"/>
                  </a:lnTo>
                  <a:lnTo>
                    <a:pt x="153" y="62"/>
                  </a:lnTo>
                  <a:lnTo>
                    <a:pt x="159" y="57"/>
                  </a:lnTo>
                  <a:lnTo>
                    <a:pt x="165" y="57"/>
                  </a:lnTo>
                  <a:lnTo>
                    <a:pt x="170" y="57"/>
                  </a:lnTo>
                  <a:lnTo>
                    <a:pt x="176" y="57"/>
                  </a:lnTo>
                  <a:lnTo>
                    <a:pt x="193" y="51"/>
                  </a:lnTo>
                  <a:lnTo>
                    <a:pt x="204" y="51"/>
                  </a:lnTo>
                  <a:lnTo>
                    <a:pt x="210" y="51"/>
                  </a:lnTo>
                  <a:lnTo>
                    <a:pt x="216" y="51"/>
                  </a:lnTo>
                  <a:lnTo>
                    <a:pt x="221" y="45"/>
                  </a:lnTo>
                  <a:lnTo>
                    <a:pt x="227" y="45"/>
                  </a:lnTo>
                  <a:lnTo>
                    <a:pt x="233" y="45"/>
                  </a:lnTo>
                  <a:lnTo>
                    <a:pt x="255" y="40"/>
                  </a:lnTo>
                  <a:lnTo>
                    <a:pt x="261" y="40"/>
                  </a:lnTo>
                  <a:lnTo>
                    <a:pt x="267" y="40"/>
                  </a:lnTo>
                  <a:lnTo>
                    <a:pt x="273" y="51"/>
                  </a:lnTo>
                  <a:lnTo>
                    <a:pt x="278" y="51"/>
                  </a:lnTo>
                  <a:lnTo>
                    <a:pt x="290" y="51"/>
                  </a:lnTo>
                  <a:lnTo>
                    <a:pt x="301" y="51"/>
                  </a:lnTo>
                  <a:lnTo>
                    <a:pt x="307" y="51"/>
                  </a:lnTo>
                  <a:lnTo>
                    <a:pt x="307" y="57"/>
                  </a:lnTo>
                  <a:lnTo>
                    <a:pt x="312" y="57"/>
                  </a:lnTo>
                  <a:lnTo>
                    <a:pt x="318" y="51"/>
                  </a:lnTo>
                  <a:lnTo>
                    <a:pt x="329" y="51"/>
                  </a:lnTo>
                  <a:lnTo>
                    <a:pt x="341" y="51"/>
                  </a:lnTo>
                  <a:lnTo>
                    <a:pt x="346" y="51"/>
                  </a:lnTo>
                  <a:lnTo>
                    <a:pt x="358" y="51"/>
                  </a:lnTo>
                  <a:lnTo>
                    <a:pt x="363" y="51"/>
                  </a:lnTo>
                  <a:lnTo>
                    <a:pt x="369" y="51"/>
                  </a:lnTo>
                  <a:lnTo>
                    <a:pt x="375" y="51"/>
                  </a:lnTo>
                  <a:lnTo>
                    <a:pt x="380" y="51"/>
                  </a:lnTo>
                  <a:lnTo>
                    <a:pt x="392" y="51"/>
                  </a:lnTo>
                  <a:lnTo>
                    <a:pt x="397" y="51"/>
                  </a:lnTo>
                  <a:lnTo>
                    <a:pt x="403" y="51"/>
                  </a:lnTo>
                  <a:lnTo>
                    <a:pt x="409" y="45"/>
                  </a:lnTo>
                  <a:lnTo>
                    <a:pt x="414" y="45"/>
                  </a:lnTo>
                  <a:lnTo>
                    <a:pt x="420" y="34"/>
                  </a:lnTo>
                  <a:lnTo>
                    <a:pt x="431" y="23"/>
                  </a:lnTo>
                  <a:lnTo>
                    <a:pt x="437" y="17"/>
                  </a:lnTo>
                  <a:lnTo>
                    <a:pt x="454" y="11"/>
                  </a:lnTo>
                  <a:lnTo>
                    <a:pt x="465" y="6"/>
                  </a:lnTo>
                  <a:lnTo>
                    <a:pt x="471" y="6"/>
                  </a:lnTo>
                  <a:lnTo>
                    <a:pt x="482" y="6"/>
                  </a:lnTo>
                  <a:lnTo>
                    <a:pt x="494" y="0"/>
                  </a:lnTo>
                  <a:lnTo>
                    <a:pt x="499" y="0"/>
                  </a:lnTo>
                  <a:lnTo>
                    <a:pt x="516" y="11"/>
                  </a:lnTo>
                  <a:lnTo>
                    <a:pt x="522" y="11"/>
                  </a:lnTo>
                  <a:lnTo>
                    <a:pt x="533" y="17"/>
                  </a:lnTo>
                  <a:lnTo>
                    <a:pt x="567" y="34"/>
                  </a:lnTo>
                  <a:lnTo>
                    <a:pt x="573" y="34"/>
                  </a:lnTo>
                  <a:lnTo>
                    <a:pt x="590" y="40"/>
                  </a:lnTo>
                  <a:lnTo>
                    <a:pt x="607" y="45"/>
                  </a:lnTo>
                  <a:lnTo>
                    <a:pt x="624" y="51"/>
                  </a:lnTo>
                  <a:lnTo>
                    <a:pt x="635" y="57"/>
                  </a:lnTo>
                  <a:lnTo>
                    <a:pt x="658" y="62"/>
                  </a:lnTo>
                  <a:lnTo>
                    <a:pt x="664" y="68"/>
                  </a:lnTo>
                  <a:lnTo>
                    <a:pt x="675" y="68"/>
                  </a:lnTo>
                  <a:lnTo>
                    <a:pt x="681" y="74"/>
                  </a:lnTo>
                  <a:lnTo>
                    <a:pt x="692" y="74"/>
                  </a:lnTo>
                  <a:lnTo>
                    <a:pt x="709" y="85"/>
                  </a:lnTo>
                  <a:lnTo>
                    <a:pt x="715" y="85"/>
                  </a:lnTo>
                  <a:lnTo>
                    <a:pt x="715" y="91"/>
                  </a:lnTo>
                  <a:lnTo>
                    <a:pt x="720" y="91"/>
                  </a:lnTo>
                  <a:lnTo>
                    <a:pt x="726" y="85"/>
                  </a:lnTo>
                  <a:lnTo>
                    <a:pt x="732" y="85"/>
                  </a:lnTo>
                  <a:lnTo>
                    <a:pt x="737" y="85"/>
                  </a:lnTo>
                  <a:lnTo>
                    <a:pt x="743" y="79"/>
                  </a:lnTo>
                  <a:lnTo>
                    <a:pt x="754" y="79"/>
                  </a:lnTo>
                  <a:lnTo>
                    <a:pt x="760" y="79"/>
                  </a:lnTo>
                  <a:lnTo>
                    <a:pt x="766" y="79"/>
                  </a:lnTo>
                  <a:lnTo>
                    <a:pt x="771" y="85"/>
                  </a:lnTo>
                  <a:lnTo>
                    <a:pt x="777" y="85"/>
                  </a:lnTo>
                  <a:lnTo>
                    <a:pt x="783" y="91"/>
                  </a:lnTo>
                  <a:lnTo>
                    <a:pt x="811" y="102"/>
                  </a:lnTo>
                  <a:lnTo>
                    <a:pt x="817" y="108"/>
                  </a:lnTo>
                  <a:lnTo>
                    <a:pt x="822" y="113"/>
                  </a:lnTo>
                  <a:lnTo>
                    <a:pt x="839" y="130"/>
                  </a:lnTo>
                  <a:lnTo>
                    <a:pt x="862" y="153"/>
                  </a:lnTo>
                  <a:lnTo>
                    <a:pt x="868" y="153"/>
                  </a:lnTo>
                  <a:lnTo>
                    <a:pt x="868" y="159"/>
                  </a:lnTo>
                  <a:lnTo>
                    <a:pt x="873" y="164"/>
                  </a:lnTo>
                  <a:lnTo>
                    <a:pt x="890" y="176"/>
                  </a:lnTo>
                  <a:lnTo>
                    <a:pt x="896" y="181"/>
                  </a:lnTo>
                  <a:lnTo>
                    <a:pt x="896" y="187"/>
                  </a:lnTo>
                  <a:lnTo>
                    <a:pt x="902" y="193"/>
                  </a:lnTo>
                  <a:lnTo>
                    <a:pt x="907" y="198"/>
                  </a:lnTo>
                  <a:lnTo>
                    <a:pt x="907" y="204"/>
                  </a:lnTo>
                  <a:lnTo>
                    <a:pt x="913" y="204"/>
                  </a:lnTo>
                  <a:lnTo>
                    <a:pt x="913" y="210"/>
                  </a:lnTo>
                  <a:lnTo>
                    <a:pt x="913" y="215"/>
                  </a:lnTo>
                  <a:lnTo>
                    <a:pt x="919" y="215"/>
                  </a:lnTo>
                  <a:lnTo>
                    <a:pt x="919" y="221"/>
                  </a:lnTo>
                  <a:lnTo>
                    <a:pt x="924" y="227"/>
                  </a:lnTo>
                  <a:lnTo>
                    <a:pt x="930" y="238"/>
                  </a:lnTo>
                  <a:lnTo>
                    <a:pt x="936" y="244"/>
                  </a:lnTo>
                  <a:lnTo>
                    <a:pt x="941" y="255"/>
                  </a:lnTo>
                  <a:lnTo>
                    <a:pt x="941" y="261"/>
                  </a:lnTo>
                  <a:lnTo>
                    <a:pt x="947" y="266"/>
                  </a:lnTo>
                  <a:lnTo>
                    <a:pt x="947" y="272"/>
                  </a:lnTo>
                  <a:lnTo>
                    <a:pt x="953" y="278"/>
                  </a:lnTo>
                  <a:lnTo>
                    <a:pt x="958" y="283"/>
                  </a:lnTo>
                  <a:lnTo>
                    <a:pt x="964" y="289"/>
                  </a:lnTo>
                  <a:lnTo>
                    <a:pt x="975" y="306"/>
                  </a:lnTo>
                  <a:lnTo>
                    <a:pt x="981" y="306"/>
                  </a:lnTo>
                  <a:lnTo>
                    <a:pt x="981" y="312"/>
                  </a:lnTo>
                  <a:lnTo>
                    <a:pt x="987" y="317"/>
                  </a:lnTo>
                  <a:lnTo>
                    <a:pt x="992" y="323"/>
                  </a:lnTo>
                  <a:lnTo>
                    <a:pt x="998" y="323"/>
                  </a:lnTo>
                  <a:lnTo>
                    <a:pt x="1015" y="323"/>
                  </a:lnTo>
                  <a:lnTo>
                    <a:pt x="1021" y="323"/>
                  </a:lnTo>
                  <a:lnTo>
                    <a:pt x="1032" y="317"/>
                  </a:lnTo>
                  <a:lnTo>
                    <a:pt x="1038" y="317"/>
                  </a:lnTo>
                  <a:lnTo>
                    <a:pt x="1038" y="335"/>
                  </a:lnTo>
                  <a:lnTo>
                    <a:pt x="1038" y="352"/>
                  </a:lnTo>
                  <a:lnTo>
                    <a:pt x="1038" y="363"/>
                  </a:lnTo>
                  <a:lnTo>
                    <a:pt x="1038" y="374"/>
                  </a:lnTo>
                  <a:lnTo>
                    <a:pt x="1038" y="380"/>
                  </a:lnTo>
                  <a:lnTo>
                    <a:pt x="1032" y="391"/>
                  </a:lnTo>
                  <a:lnTo>
                    <a:pt x="1032" y="403"/>
                  </a:lnTo>
                  <a:lnTo>
                    <a:pt x="1032" y="431"/>
                  </a:lnTo>
                  <a:lnTo>
                    <a:pt x="1032" y="437"/>
                  </a:lnTo>
                  <a:lnTo>
                    <a:pt x="1038" y="442"/>
                  </a:lnTo>
                  <a:lnTo>
                    <a:pt x="1038" y="448"/>
                  </a:lnTo>
                  <a:lnTo>
                    <a:pt x="1038" y="454"/>
                  </a:lnTo>
                  <a:lnTo>
                    <a:pt x="1038" y="459"/>
                  </a:lnTo>
                  <a:lnTo>
                    <a:pt x="1043" y="465"/>
                  </a:lnTo>
                  <a:lnTo>
                    <a:pt x="1043" y="488"/>
                  </a:lnTo>
                  <a:lnTo>
                    <a:pt x="1043" y="493"/>
                  </a:lnTo>
                  <a:lnTo>
                    <a:pt x="1043" y="499"/>
                  </a:lnTo>
                  <a:lnTo>
                    <a:pt x="1043" y="505"/>
                  </a:lnTo>
                  <a:lnTo>
                    <a:pt x="1043" y="510"/>
                  </a:lnTo>
                  <a:lnTo>
                    <a:pt x="1043" y="527"/>
                  </a:lnTo>
                  <a:lnTo>
                    <a:pt x="1043" y="533"/>
                  </a:lnTo>
                  <a:lnTo>
                    <a:pt x="1049" y="533"/>
                  </a:lnTo>
                  <a:lnTo>
                    <a:pt x="1049" y="539"/>
                  </a:lnTo>
                  <a:lnTo>
                    <a:pt x="1055" y="539"/>
                  </a:lnTo>
                  <a:lnTo>
                    <a:pt x="1055" y="544"/>
                  </a:lnTo>
                  <a:lnTo>
                    <a:pt x="1055" y="550"/>
                  </a:lnTo>
                  <a:lnTo>
                    <a:pt x="1055" y="556"/>
                  </a:lnTo>
                  <a:lnTo>
                    <a:pt x="1055" y="561"/>
                  </a:lnTo>
                  <a:lnTo>
                    <a:pt x="1060" y="561"/>
                  </a:lnTo>
                  <a:lnTo>
                    <a:pt x="1060" y="567"/>
                  </a:lnTo>
                  <a:lnTo>
                    <a:pt x="1060" y="578"/>
                  </a:lnTo>
                  <a:lnTo>
                    <a:pt x="1060" y="584"/>
                  </a:lnTo>
                  <a:lnTo>
                    <a:pt x="1066" y="590"/>
                  </a:lnTo>
                  <a:lnTo>
                    <a:pt x="1072" y="595"/>
                  </a:lnTo>
                  <a:lnTo>
                    <a:pt x="1072" y="601"/>
                  </a:lnTo>
                  <a:lnTo>
                    <a:pt x="1072" y="607"/>
                  </a:lnTo>
                  <a:lnTo>
                    <a:pt x="1072" y="612"/>
                  </a:lnTo>
                  <a:lnTo>
                    <a:pt x="1077" y="618"/>
                  </a:lnTo>
                  <a:lnTo>
                    <a:pt x="1077" y="624"/>
                  </a:lnTo>
                  <a:lnTo>
                    <a:pt x="1077" y="629"/>
                  </a:lnTo>
                  <a:lnTo>
                    <a:pt x="1077" y="635"/>
                  </a:lnTo>
                  <a:lnTo>
                    <a:pt x="1077" y="641"/>
                  </a:lnTo>
                  <a:lnTo>
                    <a:pt x="1072" y="641"/>
                  </a:lnTo>
                  <a:lnTo>
                    <a:pt x="1072" y="646"/>
                  </a:lnTo>
                  <a:lnTo>
                    <a:pt x="1072" y="652"/>
                  </a:lnTo>
                  <a:lnTo>
                    <a:pt x="1066" y="652"/>
                  </a:lnTo>
                  <a:lnTo>
                    <a:pt x="1066" y="658"/>
                  </a:lnTo>
                  <a:lnTo>
                    <a:pt x="1060" y="658"/>
                  </a:lnTo>
                  <a:lnTo>
                    <a:pt x="1060" y="663"/>
                  </a:lnTo>
                  <a:lnTo>
                    <a:pt x="1060" y="669"/>
                  </a:lnTo>
                  <a:lnTo>
                    <a:pt x="1060" y="675"/>
                  </a:lnTo>
                  <a:lnTo>
                    <a:pt x="1066" y="675"/>
                  </a:lnTo>
                  <a:lnTo>
                    <a:pt x="1066" y="680"/>
                  </a:lnTo>
                  <a:lnTo>
                    <a:pt x="1072" y="680"/>
                  </a:lnTo>
                  <a:lnTo>
                    <a:pt x="1077" y="680"/>
                  </a:lnTo>
                  <a:lnTo>
                    <a:pt x="1083" y="680"/>
                  </a:lnTo>
                  <a:lnTo>
                    <a:pt x="1083" y="686"/>
                  </a:lnTo>
                  <a:lnTo>
                    <a:pt x="1089" y="686"/>
                  </a:lnTo>
                  <a:lnTo>
                    <a:pt x="1094" y="697"/>
                  </a:lnTo>
                  <a:lnTo>
                    <a:pt x="1100" y="697"/>
                  </a:lnTo>
                  <a:lnTo>
                    <a:pt x="1100" y="703"/>
                  </a:lnTo>
                  <a:lnTo>
                    <a:pt x="1106" y="709"/>
                  </a:lnTo>
                  <a:lnTo>
                    <a:pt x="1106" y="714"/>
                  </a:lnTo>
                  <a:lnTo>
                    <a:pt x="1100" y="714"/>
                  </a:lnTo>
                  <a:lnTo>
                    <a:pt x="1100" y="720"/>
                  </a:lnTo>
                  <a:lnTo>
                    <a:pt x="1094" y="720"/>
                  </a:lnTo>
                  <a:lnTo>
                    <a:pt x="1094" y="726"/>
                  </a:lnTo>
                  <a:lnTo>
                    <a:pt x="1089" y="720"/>
                  </a:lnTo>
                  <a:lnTo>
                    <a:pt x="1083" y="720"/>
                  </a:lnTo>
                  <a:lnTo>
                    <a:pt x="1077" y="720"/>
                  </a:lnTo>
                  <a:lnTo>
                    <a:pt x="1072" y="726"/>
                  </a:lnTo>
                  <a:lnTo>
                    <a:pt x="1072" y="731"/>
                  </a:lnTo>
                  <a:lnTo>
                    <a:pt x="1072" y="737"/>
                  </a:lnTo>
                  <a:lnTo>
                    <a:pt x="1066" y="743"/>
                  </a:lnTo>
                  <a:lnTo>
                    <a:pt x="1060" y="743"/>
                  </a:lnTo>
                  <a:lnTo>
                    <a:pt x="1055" y="754"/>
                  </a:lnTo>
                  <a:lnTo>
                    <a:pt x="1049" y="754"/>
                  </a:lnTo>
                  <a:lnTo>
                    <a:pt x="1043" y="754"/>
                  </a:lnTo>
                  <a:lnTo>
                    <a:pt x="1043" y="760"/>
                  </a:lnTo>
                  <a:lnTo>
                    <a:pt x="1038" y="760"/>
                  </a:lnTo>
                  <a:lnTo>
                    <a:pt x="1032" y="760"/>
                  </a:lnTo>
                  <a:lnTo>
                    <a:pt x="1026" y="754"/>
                  </a:lnTo>
                  <a:lnTo>
                    <a:pt x="1021" y="754"/>
                  </a:lnTo>
                  <a:lnTo>
                    <a:pt x="1015" y="754"/>
                  </a:lnTo>
                  <a:lnTo>
                    <a:pt x="1009" y="754"/>
                  </a:lnTo>
                  <a:lnTo>
                    <a:pt x="998" y="754"/>
                  </a:lnTo>
                  <a:lnTo>
                    <a:pt x="998" y="760"/>
                  </a:lnTo>
                  <a:lnTo>
                    <a:pt x="992" y="760"/>
                  </a:lnTo>
                  <a:lnTo>
                    <a:pt x="992" y="765"/>
                  </a:lnTo>
                  <a:lnTo>
                    <a:pt x="987" y="765"/>
                  </a:lnTo>
                  <a:lnTo>
                    <a:pt x="987" y="771"/>
                  </a:lnTo>
                  <a:lnTo>
                    <a:pt x="987" y="782"/>
                  </a:lnTo>
                  <a:lnTo>
                    <a:pt x="981" y="782"/>
                  </a:lnTo>
                  <a:lnTo>
                    <a:pt x="981" y="788"/>
                  </a:lnTo>
                  <a:lnTo>
                    <a:pt x="981" y="794"/>
                  </a:lnTo>
                  <a:lnTo>
                    <a:pt x="981" y="799"/>
                  </a:lnTo>
                  <a:lnTo>
                    <a:pt x="975" y="799"/>
                  </a:lnTo>
                  <a:lnTo>
                    <a:pt x="975" y="805"/>
                  </a:lnTo>
                  <a:lnTo>
                    <a:pt x="975" y="811"/>
                  </a:lnTo>
                  <a:lnTo>
                    <a:pt x="975" y="816"/>
                  </a:lnTo>
                  <a:lnTo>
                    <a:pt x="975" y="822"/>
                  </a:lnTo>
                  <a:lnTo>
                    <a:pt x="975" y="828"/>
                  </a:lnTo>
                  <a:lnTo>
                    <a:pt x="975" y="833"/>
                  </a:lnTo>
                  <a:lnTo>
                    <a:pt x="981" y="839"/>
                  </a:lnTo>
                  <a:lnTo>
                    <a:pt x="987" y="845"/>
                  </a:lnTo>
                  <a:lnTo>
                    <a:pt x="987" y="850"/>
                  </a:lnTo>
                  <a:lnTo>
                    <a:pt x="992" y="856"/>
                  </a:lnTo>
                  <a:lnTo>
                    <a:pt x="992" y="862"/>
                  </a:lnTo>
                  <a:lnTo>
                    <a:pt x="992" y="867"/>
                  </a:lnTo>
                  <a:lnTo>
                    <a:pt x="987" y="867"/>
                  </a:lnTo>
                  <a:lnTo>
                    <a:pt x="987" y="873"/>
                  </a:lnTo>
                  <a:lnTo>
                    <a:pt x="987" y="879"/>
                  </a:lnTo>
                  <a:lnTo>
                    <a:pt x="987" y="884"/>
                  </a:lnTo>
                  <a:lnTo>
                    <a:pt x="981" y="890"/>
                  </a:lnTo>
                  <a:lnTo>
                    <a:pt x="981" y="896"/>
                  </a:lnTo>
                  <a:lnTo>
                    <a:pt x="981" y="901"/>
                  </a:lnTo>
                  <a:lnTo>
                    <a:pt x="987" y="907"/>
                  </a:lnTo>
                  <a:lnTo>
                    <a:pt x="981" y="913"/>
                  </a:lnTo>
                  <a:lnTo>
                    <a:pt x="975" y="918"/>
                  </a:lnTo>
                  <a:lnTo>
                    <a:pt x="970" y="924"/>
                  </a:lnTo>
                  <a:lnTo>
                    <a:pt x="964" y="924"/>
                  </a:lnTo>
                  <a:lnTo>
                    <a:pt x="964" y="930"/>
                  </a:lnTo>
                  <a:lnTo>
                    <a:pt x="958" y="930"/>
                  </a:lnTo>
                  <a:lnTo>
                    <a:pt x="958" y="935"/>
                  </a:lnTo>
                  <a:lnTo>
                    <a:pt x="953" y="935"/>
                  </a:lnTo>
                  <a:lnTo>
                    <a:pt x="947" y="935"/>
                  </a:lnTo>
                  <a:lnTo>
                    <a:pt x="947" y="941"/>
                  </a:lnTo>
                  <a:lnTo>
                    <a:pt x="941" y="941"/>
                  </a:lnTo>
                  <a:lnTo>
                    <a:pt x="936" y="947"/>
                  </a:lnTo>
                  <a:lnTo>
                    <a:pt x="936" y="952"/>
                  </a:lnTo>
                  <a:lnTo>
                    <a:pt x="930" y="964"/>
                  </a:lnTo>
                  <a:lnTo>
                    <a:pt x="930" y="975"/>
                  </a:lnTo>
                  <a:lnTo>
                    <a:pt x="930" y="981"/>
                  </a:lnTo>
                  <a:lnTo>
                    <a:pt x="930" y="986"/>
                  </a:lnTo>
                  <a:lnTo>
                    <a:pt x="924" y="992"/>
                  </a:lnTo>
                  <a:lnTo>
                    <a:pt x="924" y="998"/>
                  </a:lnTo>
                  <a:lnTo>
                    <a:pt x="919" y="998"/>
                  </a:lnTo>
                  <a:lnTo>
                    <a:pt x="919" y="1003"/>
                  </a:lnTo>
                  <a:lnTo>
                    <a:pt x="913" y="1009"/>
                  </a:lnTo>
                  <a:lnTo>
                    <a:pt x="907" y="1015"/>
                  </a:lnTo>
                  <a:lnTo>
                    <a:pt x="902" y="1015"/>
                  </a:lnTo>
                  <a:lnTo>
                    <a:pt x="902" y="1020"/>
                  </a:lnTo>
                  <a:lnTo>
                    <a:pt x="896" y="1020"/>
                  </a:lnTo>
                  <a:lnTo>
                    <a:pt x="890" y="1020"/>
                  </a:lnTo>
                  <a:lnTo>
                    <a:pt x="885" y="1026"/>
                  </a:lnTo>
                  <a:lnTo>
                    <a:pt x="879" y="1026"/>
                  </a:lnTo>
                  <a:lnTo>
                    <a:pt x="862" y="1032"/>
                  </a:lnTo>
                  <a:lnTo>
                    <a:pt x="856" y="1032"/>
                  </a:lnTo>
                  <a:lnTo>
                    <a:pt x="851" y="1032"/>
                  </a:lnTo>
                  <a:lnTo>
                    <a:pt x="845" y="1032"/>
                  </a:lnTo>
                  <a:lnTo>
                    <a:pt x="834" y="1032"/>
                  </a:lnTo>
                  <a:lnTo>
                    <a:pt x="828" y="1032"/>
                  </a:lnTo>
                  <a:lnTo>
                    <a:pt x="822" y="1026"/>
                  </a:lnTo>
                  <a:lnTo>
                    <a:pt x="817" y="1026"/>
                  </a:lnTo>
                  <a:lnTo>
                    <a:pt x="811" y="1020"/>
                  </a:lnTo>
                  <a:lnTo>
                    <a:pt x="805" y="1020"/>
                  </a:lnTo>
                  <a:lnTo>
                    <a:pt x="805" y="1026"/>
                  </a:lnTo>
                  <a:lnTo>
                    <a:pt x="794" y="1026"/>
                  </a:lnTo>
                  <a:lnTo>
                    <a:pt x="794" y="1032"/>
                  </a:lnTo>
                  <a:lnTo>
                    <a:pt x="783" y="1037"/>
                  </a:lnTo>
                  <a:lnTo>
                    <a:pt x="777" y="1037"/>
                  </a:lnTo>
                  <a:lnTo>
                    <a:pt x="777" y="1043"/>
                  </a:lnTo>
                  <a:lnTo>
                    <a:pt x="771" y="1043"/>
                  </a:lnTo>
                  <a:lnTo>
                    <a:pt x="771" y="1049"/>
                  </a:lnTo>
                  <a:lnTo>
                    <a:pt x="766" y="1049"/>
                  </a:lnTo>
                  <a:lnTo>
                    <a:pt x="760" y="1054"/>
                  </a:lnTo>
                  <a:lnTo>
                    <a:pt x="760" y="1060"/>
                  </a:lnTo>
                  <a:lnTo>
                    <a:pt x="754" y="1060"/>
                  </a:lnTo>
                  <a:lnTo>
                    <a:pt x="754" y="1071"/>
                  </a:lnTo>
                  <a:lnTo>
                    <a:pt x="749" y="1071"/>
                  </a:lnTo>
                  <a:lnTo>
                    <a:pt x="749" y="1077"/>
                  </a:lnTo>
                  <a:lnTo>
                    <a:pt x="749" y="1083"/>
                  </a:lnTo>
                  <a:lnTo>
                    <a:pt x="743" y="1083"/>
                  </a:lnTo>
                  <a:lnTo>
                    <a:pt x="737" y="1083"/>
                  </a:lnTo>
                  <a:lnTo>
                    <a:pt x="732" y="1083"/>
                  </a:lnTo>
                  <a:lnTo>
                    <a:pt x="726" y="1077"/>
                  </a:lnTo>
                  <a:lnTo>
                    <a:pt x="726" y="1071"/>
                  </a:lnTo>
                  <a:lnTo>
                    <a:pt x="720" y="1066"/>
                  </a:lnTo>
                  <a:lnTo>
                    <a:pt x="720" y="1060"/>
                  </a:lnTo>
                  <a:lnTo>
                    <a:pt x="720" y="1054"/>
                  </a:lnTo>
                  <a:lnTo>
                    <a:pt x="715" y="1049"/>
                  </a:lnTo>
                  <a:lnTo>
                    <a:pt x="709" y="1049"/>
                  </a:lnTo>
                  <a:lnTo>
                    <a:pt x="709" y="1043"/>
                  </a:lnTo>
                  <a:lnTo>
                    <a:pt x="703" y="1043"/>
                  </a:lnTo>
                  <a:lnTo>
                    <a:pt x="703" y="1037"/>
                  </a:lnTo>
                  <a:lnTo>
                    <a:pt x="703" y="1032"/>
                  </a:lnTo>
                  <a:lnTo>
                    <a:pt x="698" y="1026"/>
                  </a:lnTo>
                  <a:lnTo>
                    <a:pt x="698" y="1020"/>
                  </a:lnTo>
                  <a:lnTo>
                    <a:pt x="692" y="1020"/>
                  </a:lnTo>
                  <a:lnTo>
                    <a:pt x="692" y="1015"/>
                  </a:lnTo>
                  <a:lnTo>
                    <a:pt x="681" y="1003"/>
                  </a:lnTo>
                  <a:lnTo>
                    <a:pt x="681" y="998"/>
                  </a:lnTo>
                  <a:lnTo>
                    <a:pt x="675" y="992"/>
                  </a:lnTo>
                  <a:lnTo>
                    <a:pt x="675" y="986"/>
                  </a:lnTo>
                  <a:lnTo>
                    <a:pt x="675" y="981"/>
                  </a:lnTo>
                  <a:lnTo>
                    <a:pt x="675" y="975"/>
                  </a:lnTo>
                  <a:lnTo>
                    <a:pt x="675" y="969"/>
                  </a:lnTo>
                  <a:lnTo>
                    <a:pt x="675" y="964"/>
                  </a:lnTo>
                  <a:lnTo>
                    <a:pt x="675" y="952"/>
                  </a:lnTo>
                  <a:lnTo>
                    <a:pt x="675" y="947"/>
                  </a:lnTo>
                  <a:lnTo>
                    <a:pt x="675" y="935"/>
                  </a:lnTo>
                  <a:lnTo>
                    <a:pt x="669" y="930"/>
                  </a:lnTo>
                  <a:lnTo>
                    <a:pt x="669" y="924"/>
                  </a:lnTo>
                  <a:lnTo>
                    <a:pt x="664" y="924"/>
                  </a:lnTo>
                  <a:lnTo>
                    <a:pt x="664" y="918"/>
                  </a:lnTo>
                  <a:lnTo>
                    <a:pt x="664" y="913"/>
                  </a:lnTo>
                  <a:lnTo>
                    <a:pt x="664" y="907"/>
                  </a:lnTo>
                  <a:lnTo>
                    <a:pt x="658" y="907"/>
                  </a:lnTo>
                  <a:lnTo>
                    <a:pt x="652" y="907"/>
                  </a:lnTo>
                  <a:lnTo>
                    <a:pt x="652" y="901"/>
                  </a:lnTo>
                  <a:lnTo>
                    <a:pt x="647" y="896"/>
                  </a:lnTo>
                  <a:lnTo>
                    <a:pt x="641" y="896"/>
                  </a:lnTo>
                  <a:lnTo>
                    <a:pt x="635" y="896"/>
                  </a:lnTo>
                  <a:lnTo>
                    <a:pt x="630" y="896"/>
                  </a:lnTo>
                  <a:lnTo>
                    <a:pt x="624" y="890"/>
                  </a:lnTo>
                  <a:lnTo>
                    <a:pt x="618" y="890"/>
                  </a:lnTo>
                  <a:lnTo>
                    <a:pt x="618" y="884"/>
                  </a:lnTo>
                  <a:lnTo>
                    <a:pt x="624" y="884"/>
                  </a:lnTo>
                  <a:lnTo>
                    <a:pt x="624" y="879"/>
                  </a:lnTo>
                  <a:lnTo>
                    <a:pt x="630" y="867"/>
                  </a:lnTo>
                  <a:lnTo>
                    <a:pt x="630" y="862"/>
                  </a:lnTo>
                  <a:lnTo>
                    <a:pt x="635" y="856"/>
                  </a:lnTo>
                  <a:lnTo>
                    <a:pt x="635" y="850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16"/>
                  </a:lnTo>
                  <a:lnTo>
                    <a:pt x="618" y="811"/>
                  </a:lnTo>
                  <a:lnTo>
                    <a:pt x="613" y="811"/>
                  </a:lnTo>
                  <a:lnTo>
                    <a:pt x="607" y="811"/>
                  </a:lnTo>
                  <a:lnTo>
                    <a:pt x="607" y="805"/>
                  </a:lnTo>
                  <a:lnTo>
                    <a:pt x="601" y="799"/>
                  </a:lnTo>
                  <a:lnTo>
                    <a:pt x="596" y="799"/>
                  </a:lnTo>
                  <a:lnTo>
                    <a:pt x="590" y="799"/>
                  </a:lnTo>
                  <a:lnTo>
                    <a:pt x="584" y="799"/>
                  </a:lnTo>
                  <a:lnTo>
                    <a:pt x="579" y="799"/>
                  </a:lnTo>
                  <a:lnTo>
                    <a:pt x="573" y="799"/>
                  </a:lnTo>
                  <a:lnTo>
                    <a:pt x="567" y="805"/>
                  </a:lnTo>
                  <a:lnTo>
                    <a:pt x="567" y="811"/>
                  </a:lnTo>
                  <a:lnTo>
                    <a:pt x="562" y="811"/>
                  </a:lnTo>
                  <a:lnTo>
                    <a:pt x="556" y="805"/>
                  </a:lnTo>
                  <a:lnTo>
                    <a:pt x="550" y="811"/>
                  </a:lnTo>
                  <a:lnTo>
                    <a:pt x="545" y="811"/>
                  </a:lnTo>
                  <a:lnTo>
                    <a:pt x="539" y="811"/>
                  </a:lnTo>
                  <a:lnTo>
                    <a:pt x="539" y="805"/>
                  </a:lnTo>
                  <a:lnTo>
                    <a:pt x="533" y="805"/>
                  </a:lnTo>
                  <a:lnTo>
                    <a:pt x="533" y="811"/>
                  </a:lnTo>
                  <a:lnTo>
                    <a:pt x="528" y="811"/>
                  </a:lnTo>
                  <a:lnTo>
                    <a:pt x="528" y="805"/>
                  </a:lnTo>
                  <a:lnTo>
                    <a:pt x="522" y="805"/>
                  </a:lnTo>
                  <a:lnTo>
                    <a:pt x="516" y="811"/>
                  </a:lnTo>
                  <a:lnTo>
                    <a:pt x="511" y="811"/>
                  </a:lnTo>
                  <a:lnTo>
                    <a:pt x="505" y="811"/>
                  </a:lnTo>
                  <a:lnTo>
                    <a:pt x="499" y="816"/>
                  </a:lnTo>
                  <a:lnTo>
                    <a:pt x="494" y="816"/>
                  </a:lnTo>
                  <a:lnTo>
                    <a:pt x="494" y="811"/>
                  </a:lnTo>
                  <a:lnTo>
                    <a:pt x="488" y="811"/>
                  </a:lnTo>
                  <a:lnTo>
                    <a:pt x="488" y="805"/>
                  </a:lnTo>
                  <a:lnTo>
                    <a:pt x="482" y="799"/>
                  </a:lnTo>
                  <a:lnTo>
                    <a:pt x="477" y="799"/>
                  </a:lnTo>
                  <a:lnTo>
                    <a:pt x="477" y="794"/>
                  </a:lnTo>
                  <a:lnTo>
                    <a:pt x="465" y="794"/>
                  </a:lnTo>
                  <a:lnTo>
                    <a:pt x="460" y="794"/>
                  </a:lnTo>
                  <a:lnTo>
                    <a:pt x="454" y="794"/>
                  </a:lnTo>
                  <a:lnTo>
                    <a:pt x="454" y="799"/>
                  </a:lnTo>
                  <a:lnTo>
                    <a:pt x="454" y="794"/>
                  </a:lnTo>
                  <a:lnTo>
                    <a:pt x="448" y="794"/>
                  </a:lnTo>
                  <a:lnTo>
                    <a:pt x="448" y="788"/>
                  </a:lnTo>
                  <a:lnTo>
                    <a:pt x="448" y="782"/>
                  </a:lnTo>
                  <a:lnTo>
                    <a:pt x="443" y="777"/>
                  </a:lnTo>
                  <a:lnTo>
                    <a:pt x="437" y="771"/>
                  </a:lnTo>
                  <a:lnTo>
                    <a:pt x="437" y="765"/>
                  </a:lnTo>
                  <a:lnTo>
                    <a:pt x="431" y="765"/>
                  </a:lnTo>
                  <a:lnTo>
                    <a:pt x="426" y="765"/>
                  </a:lnTo>
                  <a:lnTo>
                    <a:pt x="420" y="765"/>
                  </a:lnTo>
                  <a:lnTo>
                    <a:pt x="420" y="771"/>
                  </a:lnTo>
                  <a:lnTo>
                    <a:pt x="414" y="771"/>
                  </a:lnTo>
                  <a:lnTo>
                    <a:pt x="409" y="771"/>
                  </a:lnTo>
                  <a:lnTo>
                    <a:pt x="403" y="771"/>
                  </a:lnTo>
                  <a:lnTo>
                    <a:pt x="397" y="771"/>
                  </a:lnTo>
                  <a:lnTo>
                    <a:pt x="397" y="765"/>
                  </a:lnTo>
                  <a:lnTo>
                    <a:pt x="392" y="765"/>
                  </a:lnTo>
                  <a:lnTo>
                    <a:pt x="386" y="765"/>
                  </a:lnTo>
                  <a:lnTo>
                    <a:pt x="380" y="765"/>
                  </a:lnTo>
                  <a:lnTo>
                    <a:pt x="380" y="771"/>
                  </a:lnTo>
                  <a:lnTo>
                    <a:pt x="380" y="777"/>
                  </a:lnTo>
                  <a:lnTo>
                    <a:pt x="380" y="782"/>
                  </a:lnTo>
                  <a:lnTo>
                    <a:pt x="375" y="782"/>
                  </a:lnTo>
                  <a:lnTo>
                    <a:pt x="369" y="782"/>
                  </a:lnTo>
                  <a:lnTo>
                    <a:pt x="363" y="788"/>
                  </a:lnTo>
                  <a:lnTo>
                    <a:pt x="352" y="794"/>
                  </a:lnTo>
                  <a:lnTo>
                    <a:pt x="346" y="788"/>
                  </a:lnTo>
                  <a:lnTo>
                    <a:pt x="346" y="794"/>
                  </a:lnTo>
                  <a:lnTo>
                    <a:pt x="341" y="794"/>
                  </a:lnTo>
                  <a:lnTo>
                    <a:pt x="335" y="794"/>
                  </a:lnTo>
                  <a:lnTo>
                    <a:pt x="335" y="788"/>
                  </a:lnTo>
                  <a:lnTo>
                    <a:pt x="335" y="782"/>
                  </a:lnTo>
                  <a:lnTo>
                    <a:pt x="329" y="782"/>
                  </a:lnTo>
                  <a:lnTo>
                    <a:pt x="329" y="777"/>
                  </a:lnTo>
                  <a:lnTo>
                    <a:pt x="324" y="777"/>
                  </a:lnTo>
                  <a:lnTo>
                    <a:pt x="307" y="777"/>
                  </a:lnTo>
                  <a:lnTo>
                    <a:pt x="307" y="782"/>
                  </a:lnTo>
                  <a:lnTo>
                    <a:pt x="301" y="782"/>
                  </a:lnTo>
                  <a:lnTo>
                    <a:pt x="295" y="782"/>
                  </a:lnTo>
                  <a:lnTo>
                    <a:pt x="290" y="782"/>
                  </a:lnTo>
                  <a:lnTo>
                    <a:pt x="284" y="782"/>
                  </a:lnTo>
                  <a:lnTo>
                    <a:pt x="284" y="777"/>
                  </a:lnTo>
                  <a:lnTo>
                    <a:pt x="284" y="771"/>
                  </a:lnTo>
                  <a:lnTo>
                    <a:pt x="278" y="771"/>
                  </a:lnTo>
                  <a:lnTo>
                    <a:pt x="278" y="777"/>
                  </a:lnTo>
                  <a:lnTo>
                    <a:pt x="267" y="777"/>
                  </a:lnTo>
                  <a:lnTo>
                    <a:pt x="261" y="771"/>
                  </a:lnTo>
                  <a:lnTo>
                    <a:pt x="255" y="771"/>
                  </a:lnTo>
                  <a:lnTo>
                    <a:pt x="250" y="771"/>
                  </a:lnTo>
                  <a:lnTo>
                    <a:pt x="244" y="777"/>
                  </a:lnTo>
                  <a:lnTo>
                    <a:pt x="238" y="777"/>
                  </a:lnTo>
                  <a:lnTo>
                    <a:pt x="238" y="782"/>
                  </a:lnTo>
                  <a:lnTo>
                    <a:pt x="233" y="782"/>
                  </a:lnTo>
                  <a:lnTo>
                    <a:pt x="227" y="782"/>
                  </a:lnTo>
                  <a:lnTo>
                    <a:pt x="227" y="788"/>
                  </a:lnTo>
                  <a:lnTo>
                    <a:pt x="221" y="788"/>
                  </a:lnTo>
                  <a:lnTo>
                    <a:pt x="221" y="794"/>
                  </a:lnTo>
                  <a:lnTo>
                    <a:pt x="210" y="794"/>
                  </a:lnTo>
                  <a:lnTo>
                    <a:pt x="204" y="794"/>
                  </a:lnTo>
                  <a:lnTo>
                    <a:pt x="199" y="794"/>
                  </a:lnTo>
                  <a:lnTo>
                    <a:pt x="193" y="799"/>
                  </a:lnTo>
                  <a:lnTo>
                    <a:pt x="182" y="799"/>
                  </a:lnTo>
                  <a:lnTo>
                    <a:pt x="176" y="805"/>
                  </a:lnTo>
                  <a:lnTo>
                    <a:pt x="170" y="811"/>
                  </a:lnTo>
                  <a:lnTo>
                    <a:pt x="165" y="816"/>
                  </a:lnTo>
                  <a:lnTo>
                    <a:pt x="165" y="822"/>
                  </a:lnTo>
                  <a:lnTo>
                    <a:pt x="165" y="828"/>
                  </a:lnTo>
                  <a:lnTo>
                    <a:pt x="159" y="828"/>
                  </a:lnTo>
                  <a:lnTo>
                    <a:pt x="159" y="833"/>
                  </a:lnTo>
                  <a:lnTo>
                    <a:pt x="153" y="833"/>
                  </a:lnTo>
                  <a:lnTo>
                    <a:pt x="148" y="833"/>
                  </a:lnTo>
                  <a:lnTo>
                    <a:pt x="142" y="833"/>
                  </a:lnTo>
                  <a:lnTo>
                    <a:pt x="136" y="828"/>
                  </a:lnTo>
                  <a:lnTo>
                    <a:pt x="125" y="822"/>
                  </a:lnTo>
                  <a:lnTo>
                    <a:pt x="125" y="816"/>
                  </a:lnTo>
                  <a:lnTo>
                    <a:pt x="119" y="799"/>
                  </a:lnTo>
                  <a:lnTo>
                    <a:pt x="125" y="794"/>
                  </a:lnTo>
                  <a:lnTo>
                    <a:pt x="125" y="788"/>
                  </a:lnTo>
                  <a:lnTo>
                    <a:pt x="131" y="777"/>
                  </a:lnTo>
                  <a:lnTo>
                    <a:pt x="136" y="765"/>
                  </a:lnTo>
                  <a:lnTo>
                    <a:pt x="136" y="743"/>
                  </a:lnTo>
                  <a:lnTo>
                    <a:pt x="142" y="720"/>
                  </a:lnTo>
                  <a:lnTo>
                    <a:pt x="148" y="709"/>
                  </a:lnTo>
                  <a:lnTo>
                    <a:pt x="153" y="686"/>
                  </a:lnTo>
                  <a:lnTo>
                    <a:pt x="153" y="669"/>
                  </a:lnTo>
                  <a:lnTo>
                    <a:pt x="153" y="646"/>
                  </a:lnTo>
                  <a:lnTo>
                    <a:pt x="153" y="635"/>
                  </a:lnTo>
                  <a:lnTo>
                    <a:pt x="153" y="618"/>
                  </a:lnTo>
                  <a:lnTo>
                    <a:pt x="153" y="601"/>
                  </a:lnTo>
                  <a:lnTo>
                    <a:pt x="153" y="584"/>
                  </a:lnTo>
                  <a:lnTo>
                    <a:pt x="153" y="573"/>
                  </a:lnTo>
                  <a:lnTo>
                    <a:pt x="153" y="556"/>
                  </a:lnTo>
                  <a:lnTo>
                    <a:pt x="153" y="544"/>
                  </a:lnTo>
                  <a:lnTo>
                    <a:pt x="159" y="544"/>
                  </a:lnTo>
                  <a:lnTo>
                    <a:pt x="165" y="533"/>
                  </a:lnTo>
                  <a:lnTo>
                    <a:pt x="176" y="527"/>
                  </a:lnTo>
                  <a:lnTo>
                    <a:pt x="182" y="527"/>
                  </a:lnTo>
                  <a:lnTo>
                    <a:pt x="193" y="522"/>
                  </a:lnTo>
                  <a:lnTo>
                    <a:pt x="204" y="516"/>
                  </a:lnTo>
                  <a:lnTo>
                    <a:pt x="210" y="522"/>
                  </a:lnTo>
                  <a:lnTo>
                    <a:pt x="221" y="527"/>
                  </a:lnTo>
                  <a:lnTo>
                    <a:pt x="221" y="533"/>
                  </a:lnTo>
                  <a:lnTo>
                    <a:pt x="227" y="533"/>
                  </a:lnTo>
                  <a:lnTo>
                    <a:pt x="233" y="527"/>
                  </a:lnTo>
                  <a:lnTo>
                    <a:pt x="233" y="516"/>
                  </a:lnTo>
                  <a:lnTo>
                    <a:pt x="233" y="505"/>
                  </a:lnTo>
                  <a:lnTo>
                    <a:pt x="233" y="488"/>
                  </a:lnTo>
                  <a:lnTo>
                    <a:pt x="233" y="476"/>
                  </a:lnTo>
                  <a:lnTo>
                    <a:pt x="233" y="459"/>
                  </a:lnTo>
                  <a:lnTo>
                    <a:pt x="221" y="448"/>
                  </a:lnTo>
                  <a:lnTo>
                    <a:pt x="221" y="437"/>
                  </a:lnTo>
                  <a:lnTo>
                    <a:pt x="221" y="431"/>
                  </a:lnTo>
                  <a:lnTo>
                    <a:pt x="227" y="425"/>
                  </a:lnTo>
                  <a:lnTo>
                    <a:pt x="233" y="420"/>
                  </a:lnTo>
                  <a:lnTo>
                    <a:pt x="233" y="408"/>
                  </a:lnTo>
                  <a:lnTo>
                    <a:pt x="233" y="397"/>
                  </a:lnTo>
                  <a:lnTo>
                    <a:pt x="233" y="386"/>
                  </a:lnTo>
                  <a:lnTo>
                    <a:pt x="233" y="374"/>
                  </a:lnTo>
                  <a:lnTo>
                    <a:pt x="221" y="363"/>
                  </a:lnTo>
                  <a:lnTo>
                    <a:pt x="221" y="357"/>
                  </a:lnTo>
                  <a:lnTo>
                    <a:pt x="216" y="352"/>
                  </a:lnTo>
                  <a:lnTo>
                    <a:pt x="210" y="352"/>
                  </a:lnTo>
                  <a:lnTo>
                    <a:pt x="210" y="346"/>
                  </a:lnTo>
                  <a:lnTo>
                    <a:pt x="210" y="340"/>
                  </a:lnTo>
                  <a:lnTo>
                    <a:pt x="210" y="335"/>
                  </a:lnTo>
                  <a:lnTo>
                    <a:pt x="216" y="335"/>
                  </a:lnTo>
                  <a:lnTo>
                    <a:pt x="216" y="329"/>
                  </a:lnTo>
                  <a:lnTo>
                    <a:pt x="221" y="323"/>
                  </a:lnTo>
                  <a:lnTo>
                    <a:pt x="221" y="317"/>
                  </a:lnTo>
                  <a:lnTo>
                    <a:pt x="221" y="312"/>
                  </a:lnTo>
                  <a:lnTo>
                    <a:pt x="221" y="306"/>
                  </a:lnTo>
                  <a:lnTo>
                    <a:pt x="221" y="300"/>
                  </a:lnTo>
                  <a:lnTo>
                    <a:pt x="221" y="295"/>
                  </a:lnTo>
                  <a:lnTo>
                    <a:pt x="233" y="289"/>
                  </a:lnTo>
                  <a:lnTo>
                    <a:pt x="233" y="283"/>
                  </a:lnTo>
                  <a:lnTo>
                    <a:pt x="233" y="278"/>
                  </a:lnTo>
                  <a:lnTo>
                    <a:pt x="233" y="272"/>
                  </a:lnTo>
                  <a:lnTo>
                    <a:pt x="233" y="266"/>
                  </a:lnTo>
                  <a:lnTo>
                    <a:pt x="227" y="266"/>
                  </a:lnTo>
                  <a:lnTo>
                    <a:pt x="221" y="266"/>
                  </a:lnTo>
                  <a:lnTo>
                    <a:pt x="216" y="272"/>
                  </a:lnTo>
                  <a:lnTo>
                    <a:pt x="210" y="278"/>
                  </a:lnTo>
                  <a:lnTo>
                    <a:pt x="204" y="278"/>
                  </a:lnTo>
                  <a:lnTo>
                    <a:pt x="204" y="283"/>
                  </a:lnTo>
                  <a:lnTo>
                    <a:pt x="204" y="289"/>
                  </a:lnTo>
                  <a:lnTo>
                    <a:pt x="199" y="289"/>
                  </a:lnTo>
                  <a:lnTo>
                    <a:pt x="193" y="295"/>
                  </a:lnTo>
                  <a:lnTo>
                    <a:pt x="187" y="295"/>
                  </a:lnTo>
                  <a:lnTo>
                    <a:pt x="182" y="295"/>
                  </a:lnTo>
                  <a:lnTo>
                    <a:pt x="176" y="295"/>
                  </a:lnTo>
                  <a:lnTo>
                    <a:pt x="176" y="289"/>
                  </a:lnTo>
                  <a:lnTo>
                    <a:pt x="170" y="283"/>
                  </a:lnTo>
                  <a:lnTo>
                    <a:pt x="165" y="283"/>
                  </a:lnTo>
                  <a:lnTo>
                    <a:pt x="159" y="278"/>
                  </a:lnTo>
                  <a:lnTo>
                    <a:pt x="153" y="278"/>
                  </a:lnTo>
                  <a:lnTo>
                    <a:pt x="148" y="278"/>
                  </a:lnTo>
                  <a:lnTo>
                    <a:pt x="142" y="278"/>
                  </a:lnTo>
                  <a:lnTo>
                    <a:pt x="136" y="272"/>
                  </a:lnTo>
                  <a:lnTo>
                    <a:pt x="125" y="272"/>
                  </a:lnTo>
                  <a:lnTo>
                    <a:pt x="119" y="266"/>
                  </a:lnTo>
                  <a:lnTo>
                    <a:pt x="114" y="266"/>
                  </a:lnTo>
                  <a:lnTo>
                    <a:pt x="108" y="266"/>
                  </a:lnTo>
                  <a:lnTo>
                    <a:pt x="108" y="261"/>
                  </a:lnTo>
                  <a:lnTo>
                    <a:pt x="108" y="255"/>
                  </a:lnTo>
                  <a:lnTo>
                    <a:pt x="102" y="255"/>
                  </a:lnTo>
                  <a:lnTo>
                    <a:pt x="102" y="249"/>
                  </a:lnTo>
                  <a:lnTo>
                    <a:pt x="97" y="249"/>
                  </a:lnTo>
                  <a:lnTo>
                    <a:pt x="91" y="249"/>
                  </a:lnTo>
                  <a:lnTo>
                    <a:pt x="91" y="244"/>
                  </a:lnTo>
                  <a:lnTo>
                    <a:pt x="85" y="244"/>
                  </a:lnTo>
                  <a:lnTo>
                    <a:pt x="80" y="244"/>
                  </a:lnTo>
                  <a:lnTo>
                    <a:pt x="80" y="238"/>
                  </a:lnTo>
                  <a:lnTo>
                    <a:pt x="74" y="238"/>
                  </a:lnTo>
                  <a:lnTo>
                    <a:pt x="74" y="232"/>
                  </a:lnTo>
                  <a:lnTo>
                    <a:pt x="74" y="227"/>
                  </a:lnTo>
                  <a:lnTo>
                    <a:pt x="68" y="227"/>
                  </a:lnTo>
                  <a:lnTo>
                    <a:pt x="63" y="227"/>
                  </a:lnTo>
                  <a:lnTo>
                    <a:pt x="57" y="227"/>
                  </a:lnTo>
                  <a:lnTo>
                    <a:pt x="57" y="232"/>
                  </a:lnTo>
                  <a:lnTo>
                    <a:pt x="51" y="232"/>
                  </a:lnTo>
                  <a:lnTo>
                    <a:pt x="46" y="232"/>
                  </a:lnTo>
                  <a:lnTo>
                    <a:pt x="34" y="232"/>
                  </a:lnTo>
                  <a:lnTo>
                    <a:pt x="29" y="232"/>
                  </a:lnTo>
                  <a:lnTo>
                    <a:pt x="23" y="232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9" name="Freeform 18"/>
            <p:cNvSpPr>
              <a:spLocks/>
            </p:cNvSpPr>
            <p:nvPr/>
          </p:nvSpPr>
          <p:spPr bwMode="gray">
            <a:xfrm>
              <a:off x="3626144" y="892908"/>
              <a:ext cx="1425452" cy="1340332"/>
            </a:xfrm>
            <a:custGeom>
              <a:avLst/>
              <a:gdLst>
                <a:gd name="T0" fmla="*/ 2147483647 w 1015"/>
                <a:gd name="T1" fmla="*/ 2147483647 h 1004"/>
                <a:gd name="T2" fmla="*/ 2147483647 w 1015"/>
                <a:gd name="T3" fmla="*/ 2147483647 h 1004"/>
                <a:gd name="T4" fmla="*/ 2147483647 w 1015"/>
                <a:gd name="T5" fmla="*/ 2147483647 h 1004"/>
                <a:gd name="T6" fmla="*/ 2147483647 w 1015"/>
                <a:gd name="T7" fmla="*/ 2147483647 h 1004"/>
                <a:gd name="T8" fmla="*/ 2147483647 w 1015"/>
                <a:gd name="T9" fmla="*/ 2147483647 h 1004"/>
                <a:gd name="T10" fmla="*/ 2147483647 w 1015"/>
                <a:gd name="T11" fmla="*/ 2147483647 h 1004"/>
                <a:gd name="T12" fmla="*/ 2147483647 w 1015"/>
                <a:gd name="T13" fmla="*/ 2147483647 h 1004"/>
                <a:gd name="T14" fmla="*/ 2147483647 w 1015"/>
                <a:gd name="T15" fmla="*/ 2147483647 h 1004"/>
                <a:gd name="T16" fmla="*/ 2147483647 w 1015"/>
                <a:gd name="T17" fmla="*/ 2147483647 h 1004"/>
                <a:gd name="T18" fmla="*/ 2147483647 w 1015"/>
                <a:gd name="T19" fmla="*/ 2147483647 h 1004"/>
                <a:gd name="T20" fmla="*/ 2147483647 w 1015"/>
                <a:gd name="T21" fmla="*/ 2147483647 h 1004"/>
                <a:gd name="T22" fmla="*/ 2147483647 w 1015"/>
                <a:gd name="T23" fmla="*/ 2147483647 h 1004"/>
                <a:gd name="T24" fmla="*/ 2147483647 w 1015"/>
                <a:gd name="T25" fmla="*/ 2147483647 h 1004"/>
                <a:gd name="T26" fmla="*/ 2147483647 w 1015"/>
                <a:gd name="T27" fmla="*/ 2147483647 h 1004"/>
                <a:gd name="T28" fmla="*/ 2147483647 w 1015"/>
                <a:gd name="T29" fmla="*/ 2147483647 h 1004"/>
                <a:gd name="T30" fmla="*/ 2147483647 w 1015"/>
                <a:gd name="T31" fmla="*/ 2147483647 h 1004"/>
                <a:gd name="T32" fmla="*/ 2147483647 w 1015"/>
                <a:gd name="T33" fmla="*/ 2147483647 h 1004"/>
                <a:gd name="T34" fmla="*/ 2147483647 w 1015"/>
                <a:gd name="T35" fmla="*/ 2147483647 h 1004"/>
                <a:gd name="T36" fmla="*/ 2147483647 w 1015"/>
                <a:gd name="T37" fmla="*/ 2147483647 h 1004"/>
                <a:gd name="T38" fmla="*/ 2147483647 w 1015"/>
                <a:gd name="T39" fmla="*/ 2147483647 h 1004"/>
                <a:gd name="T40" fmla="*/ 2147483647 w 1015"/>
                <a:gd name="T41" fmla="*/ 2147483647 h 1004"/>
                <a:gd name="T42" fmla="*/ 2147483647 w 1015"/>
                <a:gd name="T43" fmla="*/ 2147483647 h 1004"/>
                <a:gd name="T44" fmla="*/ 2147483647 w 1015"/>
                <a:gd name="T45" fmla="*/ 2147483647 h 1004"/>
                <a:gd name="T46" fmla="*/ 2147483647 w 1015"/>
                <a:gd name="T47" fmla="*/ 2147483647 h 1004"/>
                <a:gd name="T48" fmla="*/ 2147483647 w 1015"/>
                <a:gd name="T49" fmla="*/ 2147483647 h 1004"/>
                <a:gd name="T50" fmla="*/ 2147483647 w 1015"/>
                <a:gd name="T51" fmla="*/ 2147483647 h 1004"/>
                <a:gd name="T52" fmla="*/ 2147483647 w 1015"/>
                <a:gd name="T53" fmla="*/ 2147483647 h 1004"/>
                <a:gd name="T54" fmla="*/ 2147483647 w 1015"/>
                <a:gd name="T55" fmla="*/ 2147483647 h 1004"/>
                <a:gd name="T56" fmla="*/ 2147483647 w 1015"/>
                <a:gd name="T57" fmla="*/ 2147483647 h 1004"/>
                <a:gd name="T58" fmla="*/ 2147483647 w 1015"/>
                <a:gd name="T59" fmla="*/ 2147483647 h 1004"/>
                <a:gd name="T60" fmla="*/ 2147483647 w 1015"/>
                <a:gd name="T61" fmla="*/ 2147483647 h 1004"/>
                <a:gd name="T62" fmla="*/ 2147483647 w 1015"/>
                <a:gd name="T63" fmla="*/ 2147483647 h 1004"/>
                <a:gd name="T64" fmla="*/ 2147483647 w 1015"/>
                <a:gd name="T65" fmla="*/ 2147483647 h 1004"/>
                <a:gd name="T66" fmla="*/ 2147483647 w 1015"/>
                <a:gd name="T67" fmla="*/ 2147483647 h 1004"/>
                <a:gd name="T68" fmla="*/ 2147483647 w 1015"/>
                <a:gd name="T69" fmla="*/ 2147483647 h 1004"/>
                <a:gd name="T70" fmla="*/ 2147483647 w 1015"/>
                <a:gd name="T71" fmla="*/ 2147483647 h 1004"/>
                <a:gd name="T72" fmla="*/ 2147483647 w 1015"/>
                <a:gd name="T73" fmla="*/ 2147483647 h 1004"/>
                <a:gd name="T74" fmla="*/ 2147483647 w 1015"/>
                <a:gd name="T75" fmla="*/ 2147483647 h 1004"/>
                <a:gd name="T76" fmla="*/ 2147483647 w 1015"/>
                <a:gd name="T77" fmla="*/ 2147483647 h 1004"/>
                <a:gd name="T78" fmla="*/ 2147483647 w 1015"/>
                <a:gd name="T79" fmla="*/ 2147483647 h 1004"/>
                <a:gd name="T80" fmla="*/ 2147483647 w 1015"/>
                <a:gd name="T81" fmla="*/ 2147483647 h 1004"/>
                <a:gd name="T82" fmla="*/ 2147483647 w 1015"/>
                <a:gd name="T83" fmla="*/ 2147483647 h 1004"/>
                <a:gd name="T84" fmla="*/ 2147483647 w 1015"/>
                <a:gd name="T85" fmla="*/ 2147483647 h 1004"/>
                <a:gd name="T86" fmla="*/ 2147483647 w 1015"/>
                <a:gd name="T87" fmla="*/ 2147483647 h 1004"/>
                <a:gd name="T88" fmla="*/ 2147483647 w 1015"/>
                <a:gd name="T89" fmla="*/ 2147483647 h 1004"/>
                <a:gd name="T90" fmla="*/ 2147483647 w 1015"/>
                <a:gd name="T91" fmla="*/ 2147483647 h 1004"/>
                <a:gd name="T92" fmla="*/ 2147483647 w 1015"/>
                <a:gd name="T93" fmla="*/ 2147483647 h 1004"/>
                <a:gd name="T94" fmla="*/ 2147483647 w 1015"/>
                <a:gd name="T95" fmla="*/ 2147483647 h 1004"/>
                <a:gd name="T96" fmla="*/ 2147483647 w 1015"/>
                <a:gd name="T97" fmla="*/ 2147483647 h 1004"/>
                <a:gd name="T98" fmla="*/ 2147483647 w 1015"/>
                <a:gd name="T99" fmla="*/ 2147483647 h 1004"/>
                <a:gd name="T100" fmla="*/ 2147483647 w 1015"/>
                <a:gd name="T101" fmla="*/ 2147483647 h 1004"/>
                <a:gd name="T102" fmla="*/ 2147483647 w 1015"/>
                <a:gd name="T103" fmla="*/ 2147483647 h 1004"/>
                <a:gd name="T104" fmla="*/ 2147483647 w 1015"/>
                <a:gd name="T105" fmla="*/ 2147483647 h 1004"/>
                <a:gd name="T106" fmla="*/ 2147483647 w 1015"/>
                <a:gd name="T107" fmla="*/ 2147483647 h 1004"/>
                <a:gd name="T108" fmla="*/ 2147483647 w 1015"/>
                <a:gd name="T109" fmla="*/ 2147483647 h 1004"/>
                <a:gd name="T110" fmla="*/ 2147483647 w 1015"/>
                <a:gd name="T111" fmla="*/ 2147483647 h 1004"/>
                <a:gd name="T112" fmla="*/ 2147483647 w 1015"/>
                <a:gd name="T113" fmla="*/ 2147483647 h 1004"/>
                <a:gd name="T114" fmla="*/ 2147483647 w 1015"/>
                <a:gd name="T115" fmla="*/ 2147483647 h 100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15"/>
                <a:gd name="T175" fmla="*/ 0 h 1004"/>
                <a:gd name="T176" fmla="*/ 1015 w 1015"/>
                <a:gd name="T177" fmla="*/ 1004 h 100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15" h="1004">
                  <a:moveTo>
                    <a:pt x="0" y="205"/>
                  </a:moveTo>
                  <a:lnTo>
                    <a:pt x="12" y="205"/>
                  </a:lnTo>
                  <a:lnTo>
                    <a:pt x="23" y="205"/>
                  </a:lnTo>
                  <a:lnTo>
                    <a:pt x="29" y="205"/>
                  </a:lnTo>
                  <a:lnTo>
                    <a:pt x="34" y="193"/>
                  </a:lnTo>
                  <a:lnTo>
                    <a:pt x="40" y="193"/>
                  </a:lnTo>
                  <a:lnTo>
                    <a:pt x="46" y="188"/>
                  </a:lnTo>
                  <a:lnTo>
                    <a:pt x="63" y="171"/>
                  </a:lnTo>
                  <a:lnTo>
                    <a:pt x="63" y="165"/>
                  </a:lnTo>
                  <a:lnTo>
                    <a:pt x="68" y="165"/>
                  </a:lnTo>
                  <a:lnTo>
                    <a:pt x="74" y="159"/>
                  </a:lnTo>
                  <a:lnTo>
                    <a:pt x="74" y="154"/>
                  </a:lnTo>
                  <a:lnTo>
                    <a:pt x="80" y="148"/>
                  </a:lnTo>
                  <a:lnTo>
                    <a:pt x="85" y="136"/>
                  </a:lnTo>
                  <a:lnTo>
                    <a:pt x="91" y="131"/>
                  </a:lnTo>
                  <a:lnTo>
                    <a:pt x="97" y="125"/>
                  </a:lnTo>
                  <a:lnTo>
                    <a:pt x="102" y="125"/>
                  </a:lnTo>
                  <a:lnTo>
                    <a:pt x="108" y="119"/>
                  </a:lnTo>
                  <a:lnTo>
                    <a:pt x="108" y="114"/>
                  </a:lnTo>
                  <a:lnTo>
                    <a:pt x="114" y="114"/>
                  </a:lnTo>
                  <a:lnTo>
                    <a:pt x="125" y="102"/>
                  </a:lnTo>
                  <a:lnTo>
                    <a:pt x="137" y="85"/>
                  </a:lnTo>
                  <a:lnTo>
                    <a:pt x="142" y="85"/>
                  </a:lnTo>
                  <a:lnTo>
                    <a:pt x="142" y="80"/>
                  </a:lnTo>
                  <a:lnTo>
                    <a:pt x="148" y="80"/>
                  </a:lnTo>
                  <a:lnTo>
                    <a:pt x="154" y="74"/>
                  </a:lnTo>
                  <a:lnTo>
                    <a:pt x="159" y="74"/>
                  </a:lnTo>
                  <a:lnTo>
                    <a:pt x="159" y="68"/>
                  </a:lnTo>
                  <a:lnTo>
                    <a:pt x="165" y="68"/>
                  </a:lnTo>
                  <a:lnTo>
                    <a:pt x="165" y="63"/>
                  </a:lnTo>
                  <a:lnTo>
                    <a:pt x="182" y="57"/>
                  </a:lnTo>
                  <a:lnTo>
                    <a:pt x="188" y="57"/>
                  </a:lnTo>
                  <a:lnTo>
                    <a:pt x="188" y="51"/>
                  </a:lnTo>
                  <a:lnTo>
                    <a:pt x="199" y="51"/>
                  </a:lnTo>
                  <a:lnTo>
                    <a:pt x="205" y="46"/>
                  </a:lnTo>
                  <a:lnTo>
                    <a:pt x="210" y="46"/>
                  </a:lnTo>
                  <a:lnTo>
                    <a:pt x="216" y="46"/>
                  </a:lnTo>
                  <a:lnTo>
                    <a:pt x="222" y="40"/>
                  </a:lnTo>
                  <a:lnTo>
                    <a:pt x="233" y="40"/>
                  </a:lnTo>
                  <a:lnTo>
                    <a:pt x="239" y="40"/>
                  </a:lnTo>
                  <a:lnTo>
                    <a:pt x="250" y="40"/>
                  </a:lnTo>
                  <a:lnTo>
                    <a:pt x="261" y="40"/>
                  </a:lnTo>
                  <a:lnTo>
                    <a:pt x="267" y="40"/>
                  </a:lnTo>
                  <a:lnTo>
                    <a:pt x="284" y="40"/>
                  </a:lnTo>
                  <a:lnTo>
                    <a:pt x="290" y="40"/>
                  </a:lnTo>
                  <a:lnTo>
                    <a:pt x="301" y="34"/>
                  </a:lnTo>
                  <a:lnTo>
                    <a:pt x="301" y="40"/>
                  </a:lnTo>
                  <a:lnTo>
                    <a:pt x="307" y="34"/>
                  </a:lnTo>
                  <a:lnTo>
                    <a:pt x="312" y="34"/>
                  </a:lnTo>
                  <a:lnTo>
                    <a:pt x="318" y="34"/>
                  </a:lnTo>
                  <a:lnTo>
                    <a:pt x="335" y="29"/>
                  </a:lnTo>
                  <a:lnTo>
                    <a:pt x="341" y="23"/>
                  </a:lnTo>
                  <a:lnTo>
                    <a:pt x="346" y="23"/>
                  </a:lnTo>
                  <a:lnTo>
                    <a:pt x="352" y="17"/>
                  </a:lnTo>
                  <a:lnTo>
                    <a:pt x="358" y="17"/>
                  </a:lnTo>
                  <a:lnTo>
                    <a:pt x="363" y="17"/>
                  </a:lnTo>
                  <a:lnTo>
                    <a:pt x="375" y="12"/>
                  </a:lnTo>
                  <a:lnTo>
                    <a:pt x="380" y="12"/>
                  </a:lnTo>
                  <a:lnTo>
                    <a:pt x="392" y="12"/>
                  </a:lnTo>
                  <a:lnTo>
                    <a:pt x="397" y="12"/>
                  </a:lnTo>
                  <a:lnTo>
                    <a:pt x="409" y="12"/>
                  </a:lnTo>
                  <a:lnTo>
                    <a:pt x="414" y="6"/>
                  </a:lnTo>
                  <a:lnTo>
                    <a:pt x="426" y="6"/>
                  </a:lnTo>
                  <a:lnTo>
                    <a:pt x="437" y="6"/>
                  </a:lnTo>
                  <a:lnTo>
                    <a:pt x="448" y="6"/>
                  </a:lnTo>
                  <a:lnTo>
                    <a:pt x="460" y="6"/>
                  </a:lnTo>
                  <a:lnTo>
                    <a:pt x="465" y="6"/>
                  </a:lnTo>
                  <a:lnTo>
                    <a:pt x="471" y="6"/>
                  </a:lnTo>
                  <a:lnTo>
                    <a:pt x="494" y="6"/>
                  </a:lnTo>
                  <a:lnTo>
                    <a:pt x="511" y="6"/>
                  </a:lnTo>
                  <a:lnTo>
                    <a:pt x="522" y="6"/>
                  </a:lnTo>
                  <a:lnTo>
                    <a:pt x="528" y="6"/>
                  </a:lnTo>
                  <a:lnTo>
                    <a:pt x="545" y="6"/>
                  </a:lnTo>
                  <a:lnTo>
                    <a:pt x="550" y="0"/>
                  </a:lnTo>
                  <a:lnTo>
                    <a:pt x="556" y="6"/>
                  </a:lnTo>
                  <a:lnTo>
                    <a:pt x="562" y="0"/>
                  </a:lnTo>
                  <a:lnTo>
                    <a:pt x="562" y="6"/>
                  </a:lnTo>
                  <a:lnTo>
                    <a:pt x="573" y="6"/>
                  </a:lnTo>
                  <a:lnTo>
                    <a:pt x="590" y="6"/>
                  </a:lnTo>
                  <a:lnTo>
                    <a:pt x="601" y="6"/>
                  </a:lnTo>
                  <a:lnTo>
                    <a:pt x="607" y="6"/>
                  </a:lnTo>
                  <a:lnTo>
                    <a:pt x="613" y="6"/>
                  </a:lnTo>
                  <a:lnTo>
                    <a:pt x="630" y="6"/>
                  </a:lnTo>
                  <a:lnTo>
                    <a:pt x="641" y="6"/>
                  </a:lnTo>
                  <a:lnTo>
                    <a:pt x="652" y="6"/>
                  </a:lnTo>
                  <a:lnTo>
                    <a:pt x="658" y="6"/>
                  </a:lnTo>
                  <a:lnTo>
                    <a:pt x="664" y="12"/>
                  </a:lnTo>
                  <a:lnTo>
                    <a:pt x="669" y="12"/>
                  </a:lnTo>
                  <a:lnTo>
                    <a:pt x="681" y="12"/>
                  </a:lnTo>
                  <a:lnTo>
                    <a:pt x="686" y="12"/>
                  </a:lnTo>
                  <a:lnTo>
                    <a:pt x="692" y="12"/>
                  </a:lnTo>
                  <a:lnTo>
                    <a:pt x="709" y="23"/>
                  </a:lnTo>
                  <a:lnTo>
                    <a:pt x="715" y="23"/>
                  </a:lnTo>
                  <a:lnTo>
                    <a:pt x="720" y="29"/>
                  </a:lnTo>
                  <a:lnTo>
                    <a:pt x="726" y="29"/>
                  </a:lnTo>
                  <a:lnTo>
                    <a:pt x="732" y="29"/>
                  </a:lnTo>
                  <a:lnTo>
                    <a:pt x="737" y="34"/>
                  </a:lnTo>
                  <a:lnTo>
                    <a:pt x="743" y="34"/>
                  </a:lnTo>
                  <a:lnTo>
                    <a:pt x="760" y="40"/>
                  </a:lnTo>
                  <a:lnTo>
                    <a:pt x="766" y="40"/>
                  </a:lnTo>
                  <a:lnTo>
                    <a:pt x="771" y="40"/>
                  </a:lnTo>
                  <a:lnTo>
                    <a:pt x="777" y="40"/>
                  </a:lnTo>
                  <a:lnTo>
                    <a:pt x="788" y="46"/>
                  </a:lnTo>
                  <a:lnTo>
                    <a:pt x="811" y="46"/>
                  </a:lnTo>
                  <a:lnTo>
                    <a:pt x="811" y="51"/>
                  </a:lnTo>
                  <a:lnTo>
                    <a:pt x="822" y="57"/>
                  </a:lnTo>
                  <a:lnTo>
                    <a:pt x="828" y="57"/>
                  </a:lnTo>
                  <a:lnTo>
                    <a:pt x="851" y="74"/>
                  </a:lnTo>
                  <a:lnTo>
                    <a:pt x="856" y="80"/>
                  </a:lnTo>
                  <a:lnTo>
                    <a:pt x="856" y="85"/>
                  </a:lnTo>
                  <a:lnTo>
                    <a:pt x="862" y="85"/>
                  </a:lnTo>
                  <a:lnTo>
                    <a:pt x="868" y="91"/>
                  </a:lnTo>
                  <a:lnTo>
                    <a:pt x="873" y="91"/>
                  </a:lnTo>
                  <a:lnTo>
                    <a:pt x="879" y="97"/>
                  </a:lnTo>
                  <a:lnTo>
                    <a:pt x="890" y="102"/>
                  </a:lnTo>
                  <a:lnTo>
                    <a:pt x="896" y="102"/>
                  </a:lnTo>
                  <a:lnTo>
                    <a:pt x="902" y="102"/>
                  </a:lnTo>
                  <a:lnTo>
                    <a:pt x="907" y="102"/>
                  </a:lnTo>
                  <a:lnTo>
                    <a:pt x="907" y="97"/>
                  </a:lnTo>
                  <a:lnTo>
                    <a:pt x="913" y="102"/>
                  </a:lnTo>
                  <a:lnTo>
                    <a:pt x="919" y="102"/>
                  </a:lnTo>
                  <a:lnTo>
                    <a:pt x="919" y="97"/>
                  </a:lnTo>
                  <a:lnTo>
                    <a:pt x="919" y="91"/>
                  </a:lnTo>
                  <a:lnTo>
                    <a:pt x="919" y="97"/>
                  </a:lnTo>
                  <a:lnTo>
                    <a:pt x="924" y="91"/>
                  </a:lnTo>
                  <a:lnTo>
                    <a:pt x="924" y="97"/>
                  </a:lnTo>
                  <a:lnTo>
                    <a:pt x="930" y="97"/>
                  </a:lnTo>
                  <a:lnTo>
                    <a:pt x="936" y="97"/>
                  </a:lnTo>
                  <a:lnTo>
                    <a:pt x="941" y="97"/>
                  </a:lnTo>
                  <a:lnTo>
                    <a:pt x="947" y="97"/>
                  </a:lnTo>
                  <a:lnTo>
                    <a:pt x="947" y="102"/>
                  </a:lnTo>
                  <a:lnTo>
                    <a:pt x="953" y="102"/>
                  </a:lnTo>
                  <a:lnTo>
                    <a:pt x="953" y="108"/>
                  </a:lnTo>
                  <a:lnTo>
                    <a:pt x="958" y="108"/>
                  </a:lnTo>
                  <a:lnTo>
                    <a:pt x="953" y="108"/>
                  </a:lnTo>
                  <a:lnTo>
                    <a:pt x="953" y="102"/>
                  </a:lnTo>
                  <a:lnTo>
                    <a:pt x="958" y="102"/>
                  </a:lnTo>
                  <a:lnTo>
                    <a:pt x="964" y="102"/>
                  </a:lnTo>
                  <a:lnTo>
                    <a:pt x="964" y="108"/>
                  </a:lnTo>
                  <a:lnTo>
                    <a:pt x="970" y="108"/>
                  </a:lnTo>
                  <a:lnTo>
                    <a:pt x="975" y="114"/>
                  </a:lnTo>
                  <a:lnTo>
                    <a:pt x="975" y="108"/>
                  </a:lnTo>
                  <a:lnTo>
                    <a:pt x="981" y="108"/>
                  </a:lnTo>
                  <a:lnTo>
                    <a:pt x="981" y="102"/>
                  </a:lnTo>
                  <a:lnTo>
                    <a:pt x="987" y="108"/>
                  </a:lnTo>
                  <a:lnTo>
                    <a:pt x="987" y="114"/>
                  </a:lnTo>
                  <a:lnTo>
                    <a:pt x="987" y="131"/>
                  </a:lnTo>
                  <a:lnTo>
                    <a:pt x="987" y="136"/>
                  </a:lnTo>
                  <a:lnTo>
                    <a:pt x="987" y="148"/>
                  </a:lnTo>
                  <a:lnTo>
                    <a:pt x="981" y="154"/>
                  </a:lnTo>
                  <a:lnTo>
                    <a:pt x="975" y="165"/>
                  </a:lnTo>
                  <a:lnTo>
                    <a:pt x="975" y="171"/>
                  </a:lnTo>
                  <a:lnTo>
                    <a:pt x="970" y="171"/>
                  </a:lnTo>
                  <a:lnTo>
                    <a:pt x="970" y="176"/>
                  </a:lnTo>
                  <a:lnTo>
                    <a:pt x="970" y="182"/>
                  </a:lnTo>
                  <a:lnTo>
                    <a:pt x="970" y="188"/>
                  </a:lnTo>
                  <a:lnTo>
                    <a:pt x="975" y="193"/>
                  </a:lnTo>
                  <a:lnTo>
                    <a:pt x="975" y="199"/>
                  </a:lnTo>
                  <a:lnTo>
                    <a:pt x="981" y="205"/>
                  </a:lnTo>
                  <a:lnTo>
                    <a:pt x="987" y="205"/>
                  </a:lnTo>
                  <a:lnTo>
                    <a:pt x="987" y="210"/>
                  </a:lnTo>
                  <a:lnTo>
                    <a:pt x="987" y="216"/>
                  </a:lnTo>
                  <a:lnTo>
                    <a:pt x="992" y="216"/>
                  </a:lnTo>
                  <a:lnTo>
                    <a:pt x="992" y="222"/>
                  </a:lnTo>
                  <a:lnTo>
                    <a:pt x="998" y="222"/>
                  </a:lnTo>
                  <a:lnTo>
                    <a:pt x="998" y="227"/>
                  </a:lnTo>
                  <a:lnTo>
                    <a:pt x="1004" y="227"/>
                  </a:lnTo>
                  <a:lnTo>
                    <a:pt x="1004" y="233"/>
                  </a:lnTo>
                  <a:lnTo>
                    <a:pt x="1004" y="239"/>
                  </a:lnTo>
                  <a:lnTo>
                    <a:pt x="1009" y="239"/>
                  </a:lnTo>
                  <a:lnTo>
                    <a:pt x="1015" y="244"/>
                  </a:lnTo>
                  <a:lnTo>
                    <a:pt x="1015" y="250"/>
                  </a:lnTo>
                  <a:lnTo>
                    <a:pt x="1015" y="256"/>
                  </a:lnTo>
                  <a:lnTo>
                    <a:pt x="1015" y="261"/>
                  </a:lnTo>
                  <a:lnTo>
                    <a:pt x="1009" y="267"/>
                  </a:lnTo>
                  <a:lnTo>
                    <a:pt x="1004" y="273"/>
                  </a:lnTo>
                  <a:lnTo>
                    <a:pt x="998" y="278"/>
                  </a:lnTo>
                  <a:lnTo>
                    <a:pt x="998" y="284"/>
                  </a:lnTo>
                  <a:lnTo>
                    <a:pt x="992" y="284"/>
                  </a:lnTo>
                  <a:lnTo>
                    <a:pt x="992" y="295"/>
                  </a:lnTo>
                  <a:lnTo>
                    <a:pt x="987" y="295"/>
                  </a:lnTo>
                  <a:lnTo>
                    <a:pt x="987" y="301"/>
                  </a:lnTo>
                  <a:lnTo>
                    <a:pt x="987" y="307"/>
                  </a:lnTo>
                  <a:lnTo>
                    <a:pt x="981" y="307"/>
                  </a:lnTo>
                  <a:lnTo>
                    <a:pt x="981" y="312"/>
                  </a:lnTo>
                  <a:lnTo>
                    <a:pt x="975" y="318"/>
                  </a:lnTo>
                  <a:lnTo>
                    <a:pt x="970" y="318"/>
                  </a:lnTo>
                  <a:lnTo>
                    <a:pt x="970" y="324"/>
                  </a:lnTo>
                  <a:lnTo>
                    <a:pt x="964" y="324"/>
                  </a:lnTo>
                  <a:lnTo>
                    <a:pt x="958" y="324"/>
                  </a:lnTo>
                  <a:lnTo>
                    <a:pt x="953" y="329"/>
                  </a:lnTo>
                  <a:lnTo>
                    <a:pt x="947" y="335"/>
                  </a:lnTo>
                  <a:lnTo>
                    <a:pt x="941" y="335"/>
                  </a:lnTo>
                  <a:lnTo>
                    <a:pt x="941" y="341"/>
                  </a:lnTo>
                  <a:lnTo>
                    <a:pt x="936" y="341"/>
                  </a:lnTo>
                  <a:lnTo>
                    <a:pt x="936" y="346"/>
                  </a:lnTo>
                  <a:lnTo>
                    <a:pt x="936" y="352"/>
                  </a:lnTo>
                  <a:lnTo>
                    <a:pt x="941" y="352"/>
                  </a:lnTo>
                  <a:lnTo>
                    <a:pt x="941" y="358"/>
                  </a:lnTo>
                  <a:lnTo>
                    <a:pt x="941" y="363"/>
                  </a:lnTo>
                  <a:lnTo>
                    <a:pt x="941" y="369"/>
                  </a:lnTo>
                  <a:lnTo>
                    <a:pt x="947" y="375"/>
                  </a:lnTo>
                  <a:lnTo>
                    <a:pt x="953" y="386"/>
                  </a:lnTo>
                  <a:lnTo>
                    <a:pt x="953" y="392"/>
                  </a:lnTo>
                  <a:lnTo>
                    <a:pt x="953" y="403"/>
                  </a:lnTo>
                  <a:lnTo>
                    <a:pt x="953" y="414"/>
                  </a:lnTo>
                  <a:lnTo>
                    <a:pt x="947" y="437"/>
                  </a:lnTo>
                  <a:lnTo>
                    <a:pt x="947" y="448"/>
                  </a:lnTo>
                  <a:lnTo>
                    <a:pt x="941" y="454"/>
                  </a:lnTo>
                  <a:lnTo>
                    <a:pt x="941" y="460"/>
                  </a:lnTo>
                  <a:lnTo>
                    <a:pt x="936" y="471"/>
                  </a:lnTo>
                  <a:lnTo>
                    <a:pt x="936" y="488"/>
                  </a:lnTo>
                  <a:lnTo>
                    <a:pt x="936" y="499"/>
                  </a:lnTo>
                  <a:lnTo>
                    <a:pt x="936" y="511"/>
                  </a:lnTo>
                  <a:lnTo>
                    <a:pt x="936" y="522"/>
                  </a:lnTo>
                  <a:lnTo>
                    <a:pt x="936" y="533"/>
                  </a:lnTo>
                  <a:lnTo>
                    <a:pt x="936" y="545"/>
                  </a:lnTo>
                  <a:lnTo>
                    <a:pt x="936" y="556"/>
                  </a:lnTo>
                  <a:lnTo>
                    <a:pt x="936" y="562"/>
                  </a:lnTo>
                  <a:lnTo>
                    <a:pt x="930" y="567"/>
                  </a:lnTo>
                  <a:lnTo>
                    <a:pt x="930" y="573"/>
                  </a:lnTo>
                  <a:lnTo>
                    <a:pt x="924" y="573"/>
                  </a:lnTo>
                  <a:lnTo>
                    <a:pt x="924" y="579"/>
                  </a:lnTo>
                  <a:lnTo>
                    <a:pt x="919" y="584"/>
                  </a:lnTo>
                  <a:lnTo>
                    <a:pt x="913" y="584"/>
                  </a:lnTo>
                  <a:lnTo>
                    <a:pt x="913" y="590"/>
                  </a:lnTo>
                  <a:lnTo>
                    <a:pt x="913" y="601"/>
                  </a:lnTo>
                  <a:lnTo>
                    <a:pt x="913" y="607"/>
                  </a:lnTo>
                  <a:lnTo>
                    <a:pt x="913" y="613"/>
                  </a:lnTo>
                  <a:lnTo>
                    <a:pt x="919" y="613"/>
                  </a:lnTo>
                  <a:lnTo>
                    <a:pt x="919" y="618"/>
                  </a:lnTo>
                  <a:lnTo>
                    <a:pt x="924" y="618"/>
                  </a:lnTo>
                  <a:lnTo>
                    <a:pt x="930" y="618"/>
                  </a:lnTo>
                  <a:lnTo>
                    <a:pt x="936" y="618"/>
                  </a:lnTo>
                  <a:lnTo>
                    <a:pt x="936" y="624"/>
                  </a:lnTo>
                  <a:lnTo>
                    <a:pt x="941" y="630"/>
                  </a:lnTo>
                  <a:lnTo>
                    <a:pt x="953" y="641"/>
                  </a:lnTo>
                  <a:lnTo>
                    <a:pt x="953" y="647"/>
                  </a:lnTo>
                  <a:lnTo>
                    <a:pt x="953" y="652"/>
                  </a:lnTo>
                  <a:lnTo>
                    <a:pt x="958" y="658"/>
                  </a:lnTo>
                  <a:lnTo>
                    <a:pt x="964" y="664"/>
                  </a:lnTo>
                  <a:lnTo>
                    <a:pt x="964" y="669"/>
                  </a:lnTo>
                  <a:lnTo>
                    <a:pt x="958" y="675"/>
                  </a:lnTo>
                  <a:lnTo>
                    <a:pt x="953" y="681"/>
                  </a:lnTo>
                  <a:lnTo>
                    <a:pt x="947" y="686"/>
                  </a:lnTo>
                  <a:lnTo>
                    <a:pt x="941" y="686"/>
                  </a:lnTo>
                  <a:lnTo>
                    <a:pt x="936" y="686"/>
                  </a:lnTo>
                  <a:lnTo>
                    <a:pt x="936" y="692"/>
                  </a:lnTo>
                  <a:lnTo>
                    <a:pt x="930" y="698"/>
                  </a:lnTo>
                  <a:lnTo>
                    <a:pt x="924" y="703"/>
                  </a:lnTo>
                  <a:lnTo>
                    <a:pt x="924" y="709"/>
                  </a:lnTo>
                  <a:lnTo>
                    <a:pt x="924" y="715"/>
                  </a:lnTo>
                  <a:lnTo>
                    <a:pt x="919" y="720"/>
                  </a:lnTo>
                  <a:lnTo>
                    <a:pt x="919" y="726"/>
                  </a:lnTo>
                  <a:lnTo>
                    <a:pt x="919" y="732"/>
                  </a:lnTo>
                  <a:lnTo>
                    <a:pt x="919" y="737"/>
                  </a:lnTo>
                  <a:lnTo>
                    <a:pt x="913" y="737"/>
                  </a:lnTo>
                  <a:lnTo>
                    <a:pt x="913" y="743"/>
                  </a:lnTo>
                  <a:lnTo>
                    <a:pt x="907" y="743"/>
                  </a:lnTo>
                  <a:lnTo>
                    <a:pt x="896" y="749"/>
                  </a:lnTo>
                  <a:lnTo>
                    <a:pt x="896" y="754"/>
                  </a:lnTo>
                  <a:lnTo>
                    <a:pt x="890" y="754"/>
                  </a:lnTo>
                  <a:lnTo>
                    <a:pt x="890" y="766"/>
                  </a:lnTo>
                  <a:lnTo>
                    <a:pt x="885" y="766"/>
                  </a:lnTo>
                  <a:lnTo>
                    <a:pt x="885" y="777"/>
                  </a:lnTo>
                  <a:lnTo>
                    <a:pt x="885" y="783"/>
                  </a:lnTo>
                  <a:lnTo>
                    <a:pt x="890" y="794"/>
                  </a:lnTo>
                  <a:lnTo>
                    <a:pt x="890" y="805"/>
                  </a:lnTo>
                  <a:lnTo>
                    <a:pt x="896" y="805"/>
                  </a:lnTo>
                  <a:lnTo>
                    <a:pt x="896" y="811"/>
                  </a:lnTo>
                  <a:lnTo>
                    <a:pt x="896" y="822"/>
                  </a:lnTo>
                  <a:lnTo>
                    <a:pt x="890" y="822"/>
                  </a:lnTo>
                  <a:lnTo>
                    <a:pt x="890" y="828"/>
                  </a:lnTo>
                  <a:lnTo>
                    <a:pt x="890" y="834"/>
                  </a:lnTo>
                  <a:lnTo>
                    <a:pt x="885" y="834"/>
                  </a:lnTo>
                  <a:lnTo>
                    <a:pt x="879" y="839"/>
                  </a:lnTo>
                  <a:lnTo>
                    <a:pt x="873" y="839"/>
                  </a:lnTo>
                  <a:lnTo>
                    <a:pt x="868" y="839"/>
                  </a:lnTo>
                  <a:lnTo>
                    <a:pt x="868" y="845"/>
                  </a:lnTo>
                  <a:lnTo>
                    <a:pt x="868" y="851"/>
                  </a:lnTo>
                  <a:lnTo>
                    <a:pt x="862" y="851"/>
                  </a:lnTo>
                  <a:lnTo>
                    <a:pt x="856" y="856"/>
                  </a:lnTo>
                  <a:lnTo>
                    <a:pt x="851" y="856"/>
                  </a:lnTo>
                  <a:lnTo>
                    <a:pt x="851" y="862"/>
                  </a:lnTo>
                  <a:lnTo>
                    <a:pt x="845" y="862"/>
                  </a:lnTo>
                  <a:lnTo>
                    <a:pt x="839" y="862"/>
                  </a:lnTo>
                  <a:lnTo>
                    <a:pt x="845" y="862"/>
                  </a:lnTo>
                  <a:lnTo>
                    <a:pt x="839" y="862"/>
                  </a:lnTo>
                  <a:lnTo>
                    <a:pt x="834" y="862"/>
                  </a:lnTo>
                  <a:lnTo>
                    <a:pt x="834" y="868"/>
                  </a:lnTo>
                  <a:lnTo>
                    <a:pt x="828" y="868"/>
                  </a:lnTo>
                  <a:lnTo>
                    <a:pt x="822" y="868"/>
                  </a:lnTo>
                  <a:lnTo>
                    <a:pt x="817" y="873"/>
                  </a:lnTo>
                  <a:lnTo>
                    <a:pt x="811" y="873"/>
                  </a:lnTo>
                  <a:lnTo>
                    <a:pt x="805" y="873"/>
                  </a:lnTo>
                  <a:lnTo>
                    <a:pt x="805" y="879"/>
                  </a:lnTo>
                  <a:lnTo>
                    <a:pt x="794" y="879"/>
                  </a:lnTo>
                  <a:lnTo>
                    <a:pt x="788" y="879"/>
                  </a:lnTo>
                  <a:lnTo>
                    <a:pt x="788" y="885"/>
                  </a:lnTo>
                  <a:lnTo>
                    <a:pt x="777" y="885"/>
                  </a:lnTo>
                  <a:lnTo>
                    <a:pt x="771" y="890"/>
                  </a:lnTo>
                  <a:lnTo>
                    <a:pt x="766" y="890"/>
                  </a:lnTo>
                  <a:lnTo>
                    <a:pt x="760" y="896"/>
                  </a:lnTo>
                  <a:lnTo>
                    <a:pt x="754" y="902"/>
                  </a:lnTo>
                  <a:lnTo>
                    <a:pt x="754" y="907"/>
                  </a:lnTo>
                  <a:lnTo>
                    <a:pt x="749" y="907"/>
                  </a:lnTo>
                  <a:lnTo>
                    <a:pt x="749" y="913"/>
                  </a:lnTo>
                  <a:lnTo>
                    <a:pt x="749" y="919"/>
                  </a:lnTo>
                  <a:lnTo>
                    <a:pt x="743" y="930"/>
                  </a:lnTo>
                  <a:lnTo>
                    <a:pt x="743" y="936"/>
                  </a:lnTo>
                  <a:lnTo>
                    <a:pt x="743" y="941"/>
                  </a:lnTo>
                  <a:lnTo>
                    <a:pt x="743" y="947"/>
                  </a:lnTo>
                  <a:lnTo>
                    <a:pt x="749" y="958"/>
                  </a:lnTo>
                  <a:lnTo>
                    <a:pt x="749" y="964"/>
                  </a:lnTo>
                  <a:lnTo>
                    <a:pt x="749" y="970"/>
                  </a:lnTo>
                  <a:lnTo>
                    <a:pt x="749" y="975"/>
                  </a:lnTo>
                  <a:lnTo>
                    <a:pt x="743" y="975"/>
                  </a:lnTo>
                  <a:lnTo>
                    <a:pt x="743" y="981"/>
                  </a:lnTo>
                  <a:lnTo>
                    <a:pt x="737" y="987"/>
                  </a:lnTo>
                  <a:lnTo>
                    <a:pt x="732" y="992"/>
                  </a:lnTo>
                  <a:lnTo>
                    <a:pt x="726" y="992"/>
                  </a:lnTo>
                  <a:lnTo>
                    <a:pt x="720" y="992"/>
                  </a:lnTo>
                  <a:lnTo>
                    <a:pt x="720" y="998"/>
                  </a:lnTo>
                  <a:lnTo>
                    <a:pt x="709" y="998"/>
                  </a:lnTo>
                  <a:lnTo>
                    <a:pt x="709" y="1004"/>
                  </a:lnTo>
                  <a:lnTo>
                    <a:pt x="703" y="1004"/>
                  </a:lnTo>
                  <a:lnTo>
                    <a:pt x="698" y="1004"/>
                  </a:lnTo>
                  <a:lnTo>
                    <a:pt x="698" y="998"/>
                  </a:lnTo>
                  <a:lnTo>
                    <a:pt x="698" y="987"/>
                  </a:lnTo>
                  <a:lnTo>
                    <a:pt x="698" y="981"/>
                  </a:lnTo>
                  <a:lnTo>
                    <a:pt x="698" y="975"/>
                  </a:lnTo>
                  <a:lnTo>
                    <a:pt x="698" y="964"/>
                  </a:lnTo>
                  <a:lnTo>
                    <a:pt x="698" y="947"/>
                  </a:lnTo>
                  <a:lnTo>
                    <a:pt x="703" y="936"/>
                  </a:lnTo>
                  <a:lnTo>
                    <a:pt x="703" y="924"/>
                  </a:lnTo>
                  <a:lnTo>
                    <a:pt x="703" y="919"/>
                  </a:lnTo>
                  <a:lnTo>
                    <a:pt x="698" y="907"/>
                  </a:lnTo>
                  <a:lnTo>
                    <a:pt x="698" y="902"/>
                  </a:lnTo>
                  <a:lnTo>
                    <a:pt x="698" y="896"/>
                  </a:lnTo>
                  <a:lnTo>
                    <a:pt x="692" y="890"/>
                  </a:lnTo>
                  <a:lnTo>
                    <a:pt x="692" y="885"/>
                  </a:lnTo>
                  <a:lnTo>
                    <a:pt x="692" y="879"/>
                  </a:lnTo>
                  <a:lnTo>
                    <a:pt x="686" y="879"/>
                  </a:lnTo>
                  <a:lnTo>
                    <a:pt x="681" y="873"/>
                  </a:lnTo>
                  <a:lnTo>
                    <a:pt x="681" y="868"/>
                  </a:lnTo>
                  <a:lnTo>
                    <a:pt x="681" y="862"/>
                  </a:lnTo>
                  <a:lnTo>
                    <a:pt x="675" y="862"/>
                  </a:lnTo>
                  <a:lnTo>
                    <a:pt x="669" y="856"/>
                  </a:lnTo>
                  <a:lnTo>
                    <a:pt x="658" y="845"/>
                  </a:lnTo>
                  <a:lnTo>
                    <a:pt x="652" y="845"/>
                  </a:lnTo>
                  <a:lnTo>
                    <a:pt x="652" y="839"/>
                  </a:lnTo>
                  <a:lnTo>
                    <a:pt x="647" y="839"/>
                  </a:lnTo>
                  <a:lnTo>
                    <a:pt x="641" y="834"/>
                  </a:lnTo>
                  <a:lnTo>
                    <a:pt x="635" y="828"/>
                  </a:lnTo>
                  <a:lnTo>
                    <a:pt x="635" y="822"/>
                  </a:lnTo>
                  <a:lnTo>
                    <a:pt x="630" y="822"/>
                  </a:lnTo>
                  <a:lnTo>
                    <a:pt x="630" y="817"/>
                  </a:lnTo>
                  <a:lnTo>
                    <a:pt x="624" y="811"/>
                  </a:lnTo>
                  <a:lnTo>
                    <a:pt x="624" y="805"/>
                  </a:lnTo>
                  <a:lnTo>
                    <a:pt x="624" y="794"/>
                  </a:lnTo>
                  <a:lnTo>
                    <a:pt x="624" y="788"/>
                  </a:lnTo>
                  <a:lnTo>
                    <a:pt x="618" y="783"/>
                  </a:lnTo>
                  <a:lnTo>
                    <a:pt x="613" y="783"/>
                  </a:lnTo>
                  <a:lnTo>
                    <a:pt x="613" y="777"/>
                  </a:lnTo>
                  <a:lnTo>
                    <a:pt x="607" y="777"/>
                  </a:lnTo>
                  <a:lnTo>
                    <a:pt x="607" y="771"/>
                  </a:lnTo>
                  <a:lnTo>
                    <a:pt x="596" y="771"/>
                  </a:lnTo>
                  <a:lnTo>
                    <a:pt x="584" y="771"/>
                  </a:lnTo>
                  <a:lnTo>
                    <a:pt x="579" y="766"/>
                  </a:lnTo>
                  <a:lnTo>
                    <a:pt x="567" y="766"/>
                  </a:lnTo>
                  <a:lnTo>
                    <a:pt x="562" y="760"/>
                  </a:lnTo>
                  <a:lnTo>
                    <a:pt x="556" y="754"/>
                  </a:lnTo>
                  <a:lnTo>
                    <a:pt x="550" y="754"/>
                  </a:lnTo>
                  <a:lnTo>
                    <a:pt x="539" y="754"/>
                  </a:lnTo>
                  <a:lnTo>
                    <a:pt x="528" y="754"/>
                  </a:lnTo>
                  <a:lnTo>
                    <a:pt x="516" y="754"/>
                  </a:lnTo>
                  <a:lnTo>
                    <a:pt x="511" y="754"/>
                  </a:lnTo>
                  <a:lnTo>
                    <a:pt x="499" y="754"/>
                  </a:lnTo>
                  <a:lnTo>
                    <a:pt x="494" y="754"/>
                  </a:lnTo>
                  <a:lnTo>
                    <a:pt x="488" y="754"/>
                  </a:lnTo>
                  <a:lnTo>
                    <a:pt x="482" y="754"/>
                  </a:lnTo>
                  <a:lnTo>
                    <a:pt x="477" y="754"/>
                  </a:lnTo>
                  <a:lnTo>
                    <a:pt x="471" y="754"/>
                  </a:lnTo>
                  <a:lnTo>
                    <a:pt x="471" y="749"/>
                  </a:lnTo>
                  <a:lnTo>
                    <a:pt x="465" y="749"/>
                  </a:lnTo>
                  <a:lnTo>
                    <a:pt x="465" y="743"/>
                  </a:lnTo>
                  <a:lnTo>
                    <a:pt x="460" y="743"/>
                  </a:lnTo>
                  <a:lnTo>
                    <a:pt x="460" y="737"/>
                  </a:lnTo>
                  <a:lnTo>
                    <a:pt x="454" y="737"/>
                  </a:lnTo>
                  <a:lnTo>
                    <a:pt x="454" y="732"/>
                  </a:lnTo>
                  <a:lnTo>
                    <a:pt x="454" y="726"/>
                  </a:lnTo>
                  <a:lnTo>
                    <a:pt x="460" y="726"/>
                  </a:lnTo>
                  <a:lnTo>
                    <a:pt x="465" y="720"/>
                  </a:lnTo>
                  <a:lnTo>
                    <a:pt x="465" y="715"/>
                  </a:lnTo>
                  <a:lnTo>
                    <a:pt x="471" y="709"/>
                  </a:lnTo>
                  <a:lnTo>
                    <a:pt x="471" y="703"/>
                  </a:lnTo>
                  <a:lnTo>
                    <a:pt x="477" y="698"/>
                  </a:lnTo>
                  <a:lnTo>
                    <a:pt x="477" y="692"/>
                  </a:lnTo>
                  <a:lnTo>
                    <a:pt x="477" y="686"/>
                  </a:lnTo>
                  <a:lnTo>
                    <a:pt x="477" y="681"/>
                  </a:lnTo>
                  <a:lnTo>
                    <a:pt x="477" y="669"/>
                  </a:lnTo>
                  <a:lnTo>
                    <a:pt x="477" y="664"/>
                  </a:lnTo>
                  <a:lnTo>
                    <a:pt x="471" y="658"/>
                  </a:lnTo>
                  <a:lnTo>
                    <a:pt x="471" y="652"/>
                  </a:lnTo>
                  <a:lnTo>
                    <a:pt x="471" y="641"/>
                  </a:lnTo>
                  <a:lnTo>
                    <a:pt x="465" y="618"/>
                  </a:lnTo>
                  <a:lnTo>
                    <a:pt x="460" y="613"/>
                  </a:lnTo>
                  <a:lnTo>
                    <a:pt x="460" y="607"/>
                  </a:lnTo>
                  <a:lnTo>
                    <a:pt x="460" y="601"/>
                  </a:lnTo>
                  <a:lnTo>
                    <a:pt x="460" y="596"/>
                  </a:lnTo>
                  <a:lnTo>
                    <a:pt x="454" y="596"/>
                  </a:lnTo>
                  <a:lnTo>
                    <a:pt x="454" y="590"/>
                  </a:lnTo>
                  <a:lnTo>
                    <a:pt x="454" y="584"/>
                  </a:lnTo>
                  <a:lnTo>
                    <a:pt x="448" y="584"/>
                  </a:lnTo>
                  <a:lnTo>
                    <a:pt x="448" y="579"/>
                  </a:lnTo>
                  <a:lnTo>
                    <a:pt x="443" y="573"/>
                  </a:lnTo>
                  <a:lnTo>
                    <a:pt x="443" y="567"/>
                  </a:lnTo>
                  <a:lnTo>
                    <a:pt x="437" y="562"/>
                  </a:lnTo>
                  <a:lnTo>
                    <a:pt x="437" y="556"/>
                  </a:lnTo>
                  <a:lnTo>
                    <a:pt x="437" y="545"/>
                  </a:lnTo>
                  <a:lnTo>
                    <a:pt x="437" y="539"/>
                  </a:lnTo>
                  <a:lnTo>
                    <a:pt x="437" y="533"/>
                  </a:lnTo>
                  <a:lnTo>
                    <a:pt x="431" y="533"/>
                  </a:lnTo>
                  <a:lnTo>
                    <a:pt x="431" y="528"/>
                  </a:lnTo>
                  <a:lnTo>
                    <a:pt x="426" y="516"/>
                  </a:lnTo>
                  <a:lnTo>
                    <a:pt x="426" y="505"/>
                  </a:lnTo>
                  <a:lnTo>
                    <a:pt x="426" y="494"/>
                  </a:lnTo>
                  <a:lnTo>
                    <a:pt x="426" y="488"/>
                  </a:lnTo>
                  <a:lnTo>
                    <a:pt x="426" y="477"/>
                  </a:lnTo>
                  <a:lnTo>
                    <a:pt x="426" y="471"/>
                  </a:lnTo>
                  <a:lnTo>
                    <a:pt x="426" y="465"/>
                  </a:lnTo>
                  <a:lnTo>
                    <a:pt x="420" y="460"/>
                  </a:lnTo>
                  <a:lnTo>
                    <a:pt x="414" y="448"/>
                  </a:lnTo>
                  <a:lnTo>
                    <a:pt x="414" y="443"/>
                  </a:lnTo>
                  <a:lnTo>
                    <a:pt x="414" y="437"/>
                  </a:lnTo>
                  <a:lnTo>
                    <a:pt x="409" y="431"/>
                  </a:lnTo>
                  <a:lnTo>
                    <a:pt x="409" y="426"/>
                  </a:lnTo>
                  <a:lnTo>
                    <a:pt x="409" y="420"/>
                  </a:lnTo>
                  <a:lnTo>
                    <a:pt x="409" y="409"/>
                  </a:lnTo>
                  <a:lnTo>
                    <a:pt x="403" y="397"/>
                  </a:lnTo>
                  <a:lnTo>
                    <a:pt x="403" y="386"/>
                  </a:lnTo>
                  <a:lnTo>
                    <a:pt x="403" y="375"/>
                  </a:lnTo>
                  <a:lnTo>
                    <a:pt x="403" y="363"/>
                  </a:lnTo>
                  <a:lnTo>
                    <a:pt x="403" y="358"/>
                  </a:lnTo>
                  <a:lnTo>
                    <a:pt x="397" y="352"/>
                  </a:lnTo>
                  <a:lnTo>
                    <a:pt x="397" y="346"/>
                  </a:lnTo>
                  <a:lnTo>
                    <a:pt x="386" y="335"/>
                  </a:lnTo>
                  <a:lnTo>
                    <a:pt x="386" y="329"/>
                  </a:lnTo>
                  <a:lnTo>
                    <a:pt x="380" y="324"/>
                  </a:lnTo>
                  <a:lnTo>
                    <a:pt x="375" y="324"/>
                  </a:lnTo>
                  <a:lnTo>
                    <a:pt x="369" y="318"/>
                  </a:lnTo>
                  <a:lnTo>
                    <a:pt x="363" y="318"/>
                  </a:lnTo>
                  <a:lnTo>
                    <a:pt x="358" y="312"/>
                  </a:lnTo>
                  <a:lnTo>
                    <a:pt x="358" y="307"/>
                  </a:lnTo>
                  <a:lnTo>
                    <a:pt x="358" y="290"/>
                  </a:lnTo>
                  <a:lnTo>
                    <a:pt x="352" y="267"/>
                  </a:lnTo>
                  <a:lnTo>
                    <a:pt x="352" y="256"/>
                  </a:lnTo>
                  <a:lnTo>
                    <a:pt x="346" y="244"/>
                  </a:lnTo>
                  <a:lnTo>
                    <a:pt x="346" y="233"/>
                  </a:lnTo>
                  <a:lnTo>
                    <a:pt x="346" y="222"/>
                  </a:lnTo>
                  <a:lnTo>
                    <a:pt x="341" y="216"/>
                  </a:lnTo>
                  <a:lnTo>
                    <a:pt x="335" y="210"/>
                  </a:lnTo>
                  <a:lnTo>
                    <a:pt x="329" y="210"/>
                  </a:lnTo>
                  <a:lnTo>
                    <a:pt x="307" y="210"/>
                  </a:lnTo>
                  <a:lnTo>
                    <a:pt x="301" y="210"/>
                  </a:lnTo>
                  <a:lnTo>
                    <a:pt x="295" y="210"/>
                  </a:lnTo>
                  <a:lnTo>
                    <a:pt x="290" y="210"/>
                  </a:lnTo>
                  <a:lnTo>
                    <a:pt x="290" y="205"/>
                  </a:lnTo>
                  <a:lnTo>
                    <a:pt x="284" y="205"/>
                  </a:lnTo>
                  <a:lnTo>
                    <a:pt x="278" y="199"/>
                  </a:lnTo>
                  <a:lnTo>
                    <a:pt x="273" y="199"/>
                  </a:lnTo>
                  <a:lnTo>
                    <a:pt x="273" y="205"/>
                  </a:lnTo>
                  <a:lnTo>
                    <a:pt x="267" y="205"/>
                  </a:lnTo>
                  <a:lnTo>
                    <a:pt x="261" y="205"/>
                  </a:lnTo>
                  <a:lnTo>
                    <a:pt x="261" y="210"/>
                  </a:lnTo>
                  <a:lnTo>
                    <a:pt x="256" y="210"/>
                  </a:lnTo>
                  <a:lnTo>
                    <a:pt x="250" y="210"/>
                  </a:lnTo>
                  <a:lnTo>
                    <a:pt x="244" y="205"/>
                  </a:lnTo>
                  <a:lnTo>
                    <a:pt x="244" y="199"/>
                  </a:lnTo>
                  <a:lnTo>
                    <a:pt x="244" y="193"/>
                  </a:lnTo>
                  <a:lnTo>
                    <a:pt x="239" y="193"/>
                  </a:lnTo>
                  <a:lnTo>
                    <a:pt x="244" y="182"/>
                  </a:lnTo>
                  <a:lnTo>
                    <a:pt x="239" y="171"/>
                  </a:lnTo>
                  <a:lnTo>
                    <a:pt x="233" y="159"/>
                  </a:lnTo>
                  <a:lnTo>
                    <a:pt x="233" y="148"/>
                  </a:lnTo>
                  <a:lnTo>
                    <a:pt x="233" y="142"/>
                  </a:lnTo>
                  <a:lnTo>
                    <a:pt x="227" y="136"/>
                  </a:lnTo>
                  <a:lnTo>
                    <a:pt x="227" y="131"/>
                  </a:lnTo>
                  <a:lnTo>
                    <a:pt x="222" y="131"/>
                  </a:lnTo>
                  <a:lnTo>
                    <a:pt x="216" y="131"/>
                  </a:lnTo>
                  <a:lnTo>
                    <a:pt x="216" y="125"/>
                  </a:lnTo>
                  <a:lnTo>
                    <a:pt x="205" y="131"/>
                  </a:lnTo>
                  <a:lnTo>
                    <a:pt x="193" y="136"/>
                  </a:lnTo>
                  <a:lnTo>
                    <a:pt x="188" y="142"/>
                  </a:lnTo>
                  <a:lnTo>
                    <a:pt x="176" y="142"/>
                  </a:lnTo>
                  <a:lnTo>
                    <a:pt x="171" y="148"/>
                  </a:lnTo>
                  <a:lnTo>
                    <a:pt x="165" y="148"/>
                  </a:lnTo>
                  <a:lnTo>
                    <a:pt x="154" y="154"/>
                  </a:lnTo>
                  <a:lnTo>
                    <a:pt x="148" y="154"/>
                  </a:lnTo>
                  <a:lnTo>
                    <a:pt x="142" y="154"/>
                  </a:lnTo>
                  <a:lnTo>
                    <a:pt x="137" y="154"/>
                  </a:lnTo>
                  <a:lnTo>
                    <a:pt x="137" y="159"/>
                  </a:lnTo>
                  <a:lnTo>
                    <a:pt x="131" y="159"/>
                  </a:lnTo>
                  <a:lnTo>
                    <a:pt x="131" y="165"/>
                  </a:lnTo>
                  <a:lnTo>
                    <a:pt x="125" y="165"/>
                  </a:lnTo>
                  <a:lnTo>
                    <a:pt x="119" y="165"/>
                  </a:lnTo>
                  <a:lnTo>
                    <a:pt x="119" y="171"/>
                  </a:lnTo>
                  <a:lnTo>
                    <a:pt x="119" y="176"/>
                  </a:lnTo>
                  <a:lnTo>
                    <a:pt x="114" y="182"/>
                  </a:lnTo>
                  <a:lnTo>
                    <a:pt x="108" y="193"/>
                  </a:lnTo>
                  <a:lnTo>
                    <a:pt x="108" y="199"/>
                  </a:lnTo>
                  <a:lnTo>
                    <a:pt x="102" y="199"/>
                  </a:lnTo>
                  <a:lnTo>
                    <a:pt x="102" y="205"/>
                  </a:lnTo>
                  <a:lnTo>
                    <a:pt x="97" y="205"/>
                  </a:lnTo>
                  <a:lnTo>
                    <a:pt x="97" y="210"/>
                  </a:lnTo>
                  <a:lnTo>
                    <a:pt x="91" y="210"/>
                  </a:lnTo>
                  <a:lnTo>
                    <a:pt x="80" y="210"/>
                  </a:lnTo>
                  <a:lnTo>
                    <a:pt x="74" y="210"/>
                  </a:lnTo>
                  <a:lnTo>
                    <a:pt x="68" y="210"/>
                  </a:lnTo>
                  <a:lnTo>
                    <a:pt x="63" y="210"/>
                  </a:lnTo>
                  <a:lnTo>
                    <a:pt x="57" y="210"/>
                  </a:lnTo>
                  <a:lnTo>
                    <a:pt x="51" y="210"/>
                  </a:lnTo>
                  <a:lnTo>
                    <a:pt x="46" y="210"/>
                  </a:lnTo>
                  <a:lnTo>
                    <a:pt x="40" y="210"/>
                  </a:lnTo>
                  <a:lnTo>
                    <a:pt x="34" y="210"/>
                  </a:lnTo>
                  <a:lnTo>
                    <a:pt x="23" y="210"/>
                  </a:lnTo>
                  <a:lnTo>
                    <a:pt x="0" y="216"/>
                  </a:lnTo>
                  <a:lnTo>
                    <a:pt x="0" y="205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0" name="Freeform 19"/>
            <p:cNvSpPr>
              <a:spLocks/>
            </p:cNvSpPr>
            <p:nvPr/>
          </p:nvSpPr>
          <p:spPr bwMode="gray">
            <a:xfrm>
              <a:off x="2616785" y="3382096"/>
              <a:ext cx="1185192" cy="809305"/>
            </a:xfrm>
            <a:custGeom>
              <a:avLst/>
              <a:gdLst>
                <a:gd name="T0" fmla="*/ 2147483647 w 844"/>
                <a:gd name="T1" fmla="*/ 2147483647 h 607"/>
                <a:gd name="T2" fmla="*/ 2147483647 w 844"/>
                <a:gd name="T3" fmla="*/ 2147483647 h 607"/>
                <a:gd name="T4" fmla="*/ 2147483647 w 844"/>
                <a:gd name="T5" fmla="*/ 2147483647 h 607"/>
                <a:gd name="T6" fmla="*/ 2147483647 w 844"/>
                <a:gd name="T7" fmla="*/ 2147483647 h 607"/>
                <a:gd name="T8" fmla="*/ 2147483647 w 844"/>
                <a:gd name="T9" fmla="*/ 2147483647 h 607"/>
                <a:gd name="T10" fmla="*/ 2147483647 w 844"/>
                <a:gd name="T11" fmla="*/ 2147483647 h 607"/>
                <a:gd name="T12" fmla="*/ 2147483647 w 844"/>
                <a:gd name="T13" fmla="*/ 2147483647 h 607"/>
                <a:gd name="T14" fmla="*/ 2147483647 w 844"/>
                <a:gd name="T15" fmla="*/ 2147483647 h 607"/>
                <a:gd name="T16" fmla="*/ 2147483647 w 844"/>
                <a:gd name="T17" fmla="*/ 2147483647 h 607"/>
                <a:gd name="T18" fmla="*/ 2147483647 w 844"/>
                <a:gd name="T19" fmla="*/ 2147483647 h 607"/>
                <a:gd name="T20" fmla="*/ 2147483647 w 844"/>
                <a:gd name="T21" fmla="*/ 2147483647 h 607"/>
                <a:gd name="T22" fmla="*/ 2147483647 w 844"/>
                <a:gd name="T23" fmla="*/ 2147483647 h 607"/>
                <a:gd name="T24" fmla="*/ 2147483647 w 844"/>
                <a:gd name="T25" fmla="*/ 2147483647 h 607"/>
                <a:gd name="T26" fmla="*/ 2147483647 w 844"/>
                <a:gd name="T27" fmla="*/ 2147483647 h 607"/>
                <a:gd name="T28" fmla="*/ 2147483647 w 844"/>
                <a:gd name="T29" fmla="*/ 2147483647 h 607"/>
                <a:gd name="T30" fmla="*/ 2147483647 w 844"/>
                <a:gd name="T31" fmla="*/ 2147483647 h 607"/>
                <a:gd name="T32" fmla="*/ 2147483647 w 844"/>
                <a:gd name="T33" fmla="*/ 2147483647 h 607"/>
                <a:gd name="T34" fmla="*/ 2147483647 w 844"/>
                <a:gd name="T35" fmla="*/ 2147483647 h 607"/>
                <a:gd name="T36" fmla="*/ 2147483647 w 844"/>
                <a:gd name="T37" fmla="*/ 2147483647 h 607"/>
                <a:gd name="T38" fmla="*/ 2147483647 w 844"/>
                <a:gd name="T39" fmla="*/ 2147483647 h 607"/>
                <a:gd name="T40" fmla="*/ 2147483647 w 844"/>
                <a:gd name="T41" fmla="*/ 2147483647 h 607"/>
                <a:gd name="T42" fmla="*/ 2147483647 w 844"/>
                <a:gd name="T43" fmla="*/ 2147483647 h 607"/>
                <a:gd name="T44" fmla="*/ 2147483647 w 844"/>
                <a:gd name="T45" fmla="*/ 2147483647 h 607"/>
                <a:gd name="T46" fmla="*/ 2147483647 w 844"/>
                <a:gd name="T47" fmla="*/ 2147483647 h 607"/>
                <a:gd name="T48" fmla="*/ 2147483647 w 844"/>
                <a:gd name="T49" fmla="*/ 2147483647 h 607"/>
                <a:gd name="T50" fmla="*/ 2147483647 w 844"/>
                <a:gd name="T51" fmla="*/ 2147483647 h 607"/>
                <a:gd name="T52" fmla="*/ 2147483647 w 844"/>
                <a:gd name="T53" fmla="*/ 2147483647 h 607"/>
                <a:gd name="T54" fmla="*/ 2147483647 w 844"/>
                <a:gd name="T55" fmla="*/ 2147483647 h 607"/>
                <a:gd name="T56" fmla="*/ 2147483647 w 844"/>
                <a:gd name="T57" fmla="*/ 2147483647 h 607"/>
                <a:gd name="T58" fmla="*/ 2147483647 w 844"/>
                <a:gd name="T59" fmla="*/ 2147483647 h 607"/>
                <a:gd name="T60" fmla="*/ 2147483647 w 844"/>
                <a:gd name="T61" fmla="*/ 2147483647 h 607"/>
                <a:gd name="T62" fmla="*/ 2147483647 w 844"/>
                <a:gd name="T63" fmla="*/ 2147483647 h 607"/>
                <a:gd name="T64" fmla="*/ 2147483647 w 844"/>
                <a:gd name="T65" fmla="*/ 2147483647 h 607"/>
                <a:gd name="T66" fmla="*/ 2147483647 w 844"/>
                <a:gd name="T67" fmla="*/ 2147483647 h 607"/>
                <a:gd name="T68" fmla="*/ 2147483647 w 844"/>
                <a:gd name="T69" fmla="*/ 2147483647 h 607"/>
                <a:gd name="T70" fmla="*/ 2147483647 w 844"/>
                <a:gd name="T71" fmla="*/ 2147483647 h 607"/>
                <a:gd name="T72" fmla="*/ 2147483647 w 844"/>
                <a:gd name="T73" fmla="*/ 2147483647 h 607"/>
                <a:gd name="T74" fmla="*/ 2147483647 w 844"/>
                <a:gd name="T75" fmla="*/ 2147483647 h 607"/>
                <a:gd name="T76" fmla="*/ 2147483647 w 844"/>
                <a:gd name="T77" fmla="*/ 2147483647 h 607"/>
                <a:gd name="T78" fmla="*/ 2147483647 w 844"/>
                <a:gd name="T79" fmla="*/ 2147483647 h 607"/>
                <a:gd name="T80" fmla="*/ 2147483647 w 844"/>
                <a:gd name="T81" fmla="*/ 2147483647 h 607"/>
                <a:gd name="T82" fmla="*/ 2147483647 w 844"/>
                <a:gd name="T83" fmla="*/ 2147483647 h 607"/>
                <a:gd name="T84" fmla="*/ 2147483647 w 844"/>
                <a:gd name="T85" fmla="*/ 2147483647 h 607"/>
                <a:gd name="T86" fmla="*/ 2147483647 w 844"/>
                <a:gd name="T87" fmla="*/ 2147483647 h 607"/>
                <a:gd name="T88" fmla="*/ 2147483647 w 844"/>
                <a:gd name="T89" fmla="*/ 2147483647 h 607"/>
                <a:gd name="T90" fmla="*/ 2147483647 w 844"/>
                <a:gd name="T91" fmla="*/ 2147483647 h 607"/>
                <a:gd name="T92" fmla="*/ 2147483647 w 844"/>
                <a:gd name="T93" fmla="*/ 2147483647 h 607"/>
                <a:gd name="T94" fmla="*/ 2147483647 w 844"/>
                <a:gd name="T95" fmla="*/ 2147483647 h 607"/>
                <a:gd name="T96" fmla="*/ 2147483647 w 844"/>
                <a:gd name="T97" fmla="*/ 2147483647 h 607"/>
                <a:gd name="T98" fmla="*/ 2147483647 w 844"/>
                <a:gd name="T99" fmla="*/ 2147483647 h 607"/>
                <a:gd name="T100" fmla="*/ 2147483647 w 844"/>
                <a:gd name="T101" fmla="*/ 2147483647 h 607"/>
                <a:gd name="T102" fmla="*/ 2147483647 w 844"/>
                <a:gd name="T103" fmla="*/ 2147483647 h 607"/>
                <a:gd name="T104" fmla="*/ 2147483647 w 844"/>
                <a:gd name="T105" fmla="*/ 2147483647 h 607"/>
                <a:gd name="T106" fmla="*/ 2147483647 w 844"/>
                <a:gd name="T107" fmla="*/ 2147483647 h 607"/>
                <a:gd name="T108" fmla="*/ 2147483647 w 844"/>
                <a:gd name="T109" fmla="*/ 2147483647 h 607"/>
                <a:gd name="T110" fmla="*/ 2147483647 w 844"/>
                <a:gd name="T111" fmla="*/ 2147483647 h 607"/>
                <a:gd name="T112" fmla="*/ 2147483647 w 844"/>
                <a:gd name="T113" fmla="*/ 2147483647 h 607"/>
                <a:gd name="T114" fmla="*/ 2147483647 w 844"/>
                <a:gd name="T115" fmla="*/ 2147483647 h 607"/>
                <a:gd name="T116" fmla="*/ 2147483647 w 844"/>
                <a:gd name="T117" fmla="*/ 2147483647 h 607"/>
                <a:gd name="T118" fmla="*/ 2147483647 w 844"/>
                <a:gd name="T119" fmla="*/ 2147483647 h 607"/>
                <a:gd name="T120" fmla="*/ 0 w 844"/>
                <a:gd name="T121" fmla="*/ 2147483647 h 60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44"/>
                <a:gd name="T184" fmla="*/ 0 h 607"/>
                <a:gd name="T185" fmla="*/ 844 w 844"/>
                <a:gd name="T186" fmla="*/ 607 h 60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44" h="607">
                  <a:moveTo>
                    <a:pt x="0" y="403"/>
                  </a:moveTo>
                  <a:lnTo>
                    <a:pt x="11" y="409"/>
                  </a:lnTo>
                  <a:lnTo>
                    <a:pt x="11" y="403"/>
                  </a:lnTo>
                  <a:lnTo>
                    <a:pt x="11" y="397"/>
                  </a:lnTo>
                  <a:lnTo>
                    <a:pt x="11" y="392"/>
                  </a:lnTo>
                  <a:lnTo>
                    <a:pt x="11" y="386"/>
                  </a:lnTo>
                  <a:lnTo>
                    <a:pt x="11" y="380"/>
                  </a:lnTo>
                  <a:lnTo>
                    <a:pt x="17" y="380"/>
                  </a:lnTo>
                  <a:lnTo>
                    <a:pt x="17" y="375"/>
                  </a:lnTo>
                  <a:lnTo>
                    <a:pt x="22" y="369"/>
                  </a:lnTo>
                  <a:lnTo>
                    <a:pt x="28" y="363"/>
                  </a:lnTo>
                  <a:lnTo>
                    <a:pt x="34" y="358"/>
                  </a:lnTo>
                  <a:lnTo>
                    <a:pt x="39" y="358"/>
                  </a:lnTo>
                  <a:lnTo>
                    <a:pt x="45" y="352"/>
                  </a:lnTo>
                  <a:lnTo>
                    <a:pt x="51" y="352"/>
                  </a:lnTo>
                  <a:lnTo>
                    <a:pt x="56" y="352"/>
                  </a:lnTo>
                  <a:lnTo>
                    <a:pt x="62" y="352"/>
                  </a:lnTo>
                  <a:lnTo>
                    <a:pt x="68" y="346"/>
                  </a:lnTo>
                  <a:lnTo>
                    <a:pt x="73" y="346"/>
                  </a:lnTo>
                  <a:lnTo>
                    <a:pt x="79" y="341"/>
                  </a:lnTo>
                  <a:lnTo>
                    <a:pt x="79" y="335"/>
                  </a:lnTo>
                  <a:lnTo>
                    <a:pt x="85" y="335"/>
                  </a:lnTo>
                  <a:lnTo>
                    <a:pt x="85" y="329"/>
                  </a:lnTo>
                  <a:lnTo>
                    <a:pt x="85" y="324"/>
                  </a:lnTo>
                  <a:lnTo>
                    <a:pt x="85" y="318"/>
                  </a:lnTo>
                  <a:lnTo>
                    <a:pt x="90" y="318"/>
                  </a:lnTo>
                  <a:lnTo>
                    <a:pt x="90" y="312"/>
                  </a:lnTo>
                  <a:lnTo>
                    <a:pt x="90" y="307"/>
                  </a:lnTo>
                  <a:lnTo>
                    <a:pt x="96" y="307"/>
                  </a:lnTo>
                  <a:lnTo>
                    <a:pt x="96" y="295"/>
                  </a:lnTo>
                  <a:lnTo>
                    <a:pt x="96" y="290"/>
                  </a:lnTo>
                  <a:lnTo>
                    <a:pt x="102" y="290"/>
                  </a:lnTo>
                  <a:lnTo>
                    <a:pt x="102" y="284"/>
                  </a:lnTo>
                  <a:lnTo>
                    <a:pt x="102" y="278"/>
                  </a:lnTo>
                  <a:lnTo>
                    <a:pt x="102" y="273"/>
                  </a:lnTo>
                  <a:lnTo>
                    <a:pt x="96" y="273"/>
                  </a:lnTo>
                  <a:lnTo>
                    <a:pt x="96" y="267"/>
                  </a:lnTo>
                  <a:lnTo>
                    <a:pt x="90" y="267"/>
                  </a:lnTo>
                  <a:lnTo>
                    <a:pt x="85" y="267"/>
                  </a:lnTo>
                  <a:lnTo>
                    <a:pt x="79" y="256"/>
                  </a:lnTo>
                  <a:lnTo>
                    <a:pt x="73" y="256"/>
                  </a:lnTo>
                  <a:lnTo>
                    <a:pt x="73" y="250"/>
                  </a:lnTo>
                  <a:lnTo>
                    <a:pt x="73" y="239"/>
                  </a:lnTo>
                  <a:lnTo>
                    <a:pt x="68" y="239"/>
                  </a:lnTo>
                  <a:lnTo>
                    <a:pt x="68" y="222"/>
                  </a:lnTo>
                  <a:lnTo>
                    <a:pt x="68" y="210"/>
                  </a:lnTo>
                  <a:lnTo>
                    <a:pt x="68" y="193"/>
                  </a:lnTo>
                  <a:lnTo>
                    <a:pt x="68" y="182"/>
                  </a:lnTo>
                  <a:lnTo>
                    <a:pt x="68" y="165"/>
                  </a:lnTo>
                  <a:lnTo>
                    <a:pt x="68" y="154"/>
                  </a:lnTo>
                  <a:lnTo>
                    <a:pt x="68" y="148"/>
                  </a:lnTo>
                  <a:lnTo>
                    <a:pt x="62" y="142"/>
                  </a:lnTo>
                  <a:lnTo>
                    <a:pt x="62" y="137"/>
                  </a:lnTo>
                  <a:lnTo>
                    <a:pt x="56" y="131"/>
                  </a:lnTo>
                  <a:lnTo>
                    <a:pt x="51" y="125"/>
                  </a:lnTo>
                  <a:lnTo>
                    <a:pt x="45" y="119"/>
                  </a:lnTo>
                  <a:lnTo>
                    <a:pt x="45" y="114"/>
                  </a:lnTo>
                  <a:lnTo>
                    <a:pt x="45" y="108"/>
                  </a:lnTo>
                  <a:lnTo>
                    <a:pt x="39" y="102"/>
                  </a:lnTo>
                  <a:lnTo>
                    <a:pt x="39" y="97"/>
                  </a:lnTo>
                  <a:lnTo>
                    <a:pt x="34" y="97"/>
                  </a:lnTo>
                  <a:lnTo>
                    <a:pt x="34" y="91"/>
                  </a:lnTo>
                  <a:lnTo>
                    <a:pt x="34" y="85"/>
                  </a:lnTo>
                  <a:lnTo>
                    <a:pt x="28" y="74"/>
                  </a:lnTo>
                  <a:lnTo>
                    <a:pt x="28" y="68"/>
                  </a:lnTo>
                  <a:lnTo>
                    <a:pt x="28" y="63"/>
                  </a:lnTo>
                  <a:lnTo>
                    <a:pt x="28" y="51"/>
                  </a:lnTo>
                  <a:lnTo>
                    <a:pt x="28" y="40"/>
                  </a:lnTo>
                  <a:lnTo>
                    <a:pt x="34" y="40"/>
                  </a:lnTo>
                  <a:lnTo>
                    <a:pt x="39" y="46"/>
                  </a:lnTo>
                  <a:lnTo>
                    <a:pt x="45" y="46"/>
                  </a:lnTo>
                  <a:lnTo>
                    <a:pt x="51" y="46"/>
                  </a:lnTo>
                  <a:lnTo>
                    <a:pt x="56" y="46"/>
                  </a:lnTo>
                  <a:lnTo>
                    <a:pt x="68" y="51"/>
                  </a:lnTo>
                  <a:lnTo>
                    <a:pt x="79" y="57"/>
                  </a:lnTo>
                  <a:lnTo>
                    <a:pt x="85" y="57"/>
                  </a:lnTo>
                  <a:lnTo>
                    <a:pt x="96" y="57"/>
                  </a:lnTo>
                  <a:lnTo>
                    <a:pt x="96" y="63"/>
                  </a:lnTo>
                  <a:lnTo>
                    <a:pt x="107" y="63"/>
                  </a:lnTo>
                  <a:lnTo>
                    <a:pt x="124" y="68"/>
                  </a:lnTo>
                  <a:lnTo>
                    <a:pt x="136" y="68"/>
                  </a:lnTo>
                  <a:lnTo>
                    <a:pt x="141" y="68"/>
                  </a:lnTo>
                  <a:lnTo>
                    <a:pt x="153" y="68"/>
                  </a:lnTo>
                  <a:lnTo>
                    <a:pt x="153" y="74"/>
                  </a:lnTo>
                  <a:lnTo>
                    <a:pt x="158" y="74"/>
                  </a:lnTo>
                  <a:lnTo>
                    <a:pt x="170" y="74"/>
                  </a:lnTo>
                  <a:lnTo>
                    <a:pt x="175" y="74"/>
                  </a:lnTo>
                  <a:lnTo>
                    <a:pt x="181" y="80"/>
                  </a:lnTo>
                  <a:lnTo>
                    <a:pt x="187" y="80"/>
                  </a:lnTo>
                  <a:lnTo>
                    <a:pt x="187" y="85"/>
                  </a:lnTo>
                  <a:lnTo>
                    <a:pt x="192" y="85"/>
                  </a:lnTo>
                  <a:lnTo>
                    <a:pt x="198" y="85"/>
                  </a:lnTo>
                  <a:lnTo>
                    <a:pt x="204" y="85"/>
                  </a:lnTo>
                  <a:lnTo>
                    <a:pt x="215" y="97"/>
                  </a:lnTo>
                  <a:lnTo>
                    <a:pt x="221" y="97"/>
                  </a:lnTo>
                  <a:lnTo>
                    <a:pt x="226" y="97"/>
                  </a:lnTo>
                  <a:lnTo>
                    <a:pt x="232" y="102"/>
                  </a:lnTo>
                  <a:lnTo>
                    <a:pt x="238" y="102"/>
                  </a:lnTo>
                  <a:lnTo>
                    <a:pt x="243" y="102"/>
                  </a:lnTo>
                  <a:lnTo>
                    <a:pt x="249" y="102"/>
                  </a:lnTo>
                  <a:lnTo>
                    <a:pt x="255" y="108"/>
                  </a:lnTo>
                  <a:lnTo>
                    <a:pt x="260" y="108"/>
                  </a:lnTo>
                  <a:lnTo>
                    <a:pt x="266" y="114"/>
                  </a:lnTo>
                  <a:lnTo>
                    <a:pt x="272" y="114"/>
                  </a:lnTo>
                  <a:lnTo>
                    <a:pt x="277" y="119"/>
                  </a:lnTo>
                  <a:lnTo>
                    <a:pt x="283" y="125"/>
                  </a:lnTo>
                  <a:lnTo>
                    <a:pt x="289" y="125"/>
                  </a:lnTo>
                  <a:lnTo>
                    <a:pt x="294" y="125"/>
                  </a:lnTo>
                  <a:lnTo>
                    <a:pt x="306" y="131"/>
                  </a:lnTo>
                  <a:lnTo>
                    <a:pt x="306" y="137"/>
                  </a:lnTo>
                  <a:lnTo>
                    <a:pt x="311" y="137"/>
                  </a:lnTo>
                  <a:lnTo>
                    <a:pt x="311" y="142"/>
                  </a:lnTo>
                  <a:lnTo>
                    <a:pt x="317" y="142"/>
                  </a:lnTo>
                  <a:lnTo>
                    <a:pt x="323" y="142"/>
                  </a:lnTo>
                  <a:lnTo>
                    <a:pt x="323" y="137"/>
                  </a:lnTo>
                  <a:lnTo>
                    <a:pt x="323" y="131"/>
                  </a:lnTo>
                  <a:lnTo>
                    <a:pt x="323" y="125"/>
                  </a:lnTo>
                  <a:lnTo>
                    <a:pt x="317" y="119"/>
                  </a:lnTo>
                  <a:lnTo>
                    <a:pt x="317" y="114"/>
                  </a:lnTo>
                  <a:lnTo>
                    <a:pt x="311" y="108"/>
                  </a:lnTo>
                  <a:lnTo>
                    <a:pt x="311" y="102"/>
                  </a:lnTo>
                  <a:lnTo>
                    <a:pt x="311" y="97"/>
                  </a:lnTo>
                  <a:lnTo>
                    <a:pt x="306" y="97"/>
                  </a:lnTo>
                  <a:lnTo>
                    <a:pt x="306" y="85"/>
                  </a:lnTo>
                  <a:lnTo>
                    <a:pt x="306" y="80"/>
                  </a:lnTo>
                  <a:lnTo>
                    <a:pt x="300" y="80"/>
                  </a:lnTo>
                  <a:lnTo>
                    <a:pt x="300" y="74"/>
                  </a:lnTo>
                  <a:lnTo>
                    <a:pt x="294" y="68"/>
                  </a:lnTo>
                  <a:lnTo>
                    <a:pt x="294" y="57"/>
                  </a:lnTo>
                  <a:lnTo>
                    <a:pt x="300" y="57"/>
                  </a:lnTo>
                  <a:lnTo>
                    <a:pt x="300" y="51"/>
                  </a:lnTo>
                  <a:lnTo>
                    <a:pt x="300" y="46"/>
                  </a:lnTo>
                  <a:lnTo>
                    <a:pt x="306" y="46"/>
                  </a:lnTo>
                  <a:lnTo>
                    <a:pt x="306" y="40"/>
                  </a:lnTo>
                  <a:lnTo>
                    <a:pt x="306" y="34"/>
                  </a:lnTo>
                  <a:lnTo>
                    <a:pt x="311" y="34"/>
                  </a:lnTo>
                  <a:lnTo>
                    <a:pt x="334" y="17"/>
                  </a:lnTo>
                  <a:lnTo>
                    <a:pt x="340" y="12"/>
                  </a:lnTo>
                  <a:lnTo>
                    <a:pt x="345" y="12"/>
                  </a:lnTo>
                  <a:lnTo>
                    <a:pt x="351" y="6"/>
                  </a:lnTo>
                  <a:lnTo>
                    <a:pt x="357" y="6"/>
                  </a:lnTo>
                  <a:lnTo>
                    <a:pt x="368" y="0"/>
                  </a:lnTo>
                  <a:lnTo>
                    <a:pt x="374" y="0"/>
                  </a:lnTo>
                  <a:lnTo>
                    <a:pt x="379" y="6"/>
                  </a:lnTo>
                  <a:lnTo>
                    <a:pt x="385" y="12"/>
                  </a:lnTo>
                  <a:lnTo>
                    <a:pt x="391" y="12"/>
                  </a:lnTo>
                  <a:lnTo>
                    <a:pt x="396" y="12"/>
                  </a:lnTo>
                  <a:lnTo>
                    <a:pt x="396" y="17"/>
                  </a:lnTo>
                  <a:lnTo>
                    <a:pt x="402" y="17"/>
                  </a:lnTo>
                  <a:lnTo>
                    <a:pt x="408" y="17"/>
                  </a:lnTo>
                  <a:lnTo>
                    <a:pt x="419" y="23"/>
                  </a:lnTo>
                  <a:lnTo>
                    <a:pt x="425" y="23"/>
                  </a:lnTo>
                  <a:lnTo>
                    <a:pt x="430" y="23"/>
                  </a:lnTo>
                  <a:lnTo>
                    <a:pt x="442" y="29"/>
                  </a:lnTo>
                  <a:lnTo>
                    <a:pt x="447" y="29"/>
                  </a:lnTo>
                  <a:lnTo>
                    <a:pt x="453" y="29"/>
                  </a:lnTo>
                  <a:lnTo>
                    <a:pt x="453" y="34"/>
                  </a:lnTo>
                  <a:lnTo>
                    <a:pt x="464" y="34"/>
                  </a:lnTo>
                  <a:lnTo>
                    <a:pt x="476" y="40"/>
                  </a:lnTo>
                  <a:lnTo>
                    <a:pt x="487" y="40"/>
                  </a:lnTo>
                  <a:lnTo>
                    <a:pt x="493" y="40"/>
                  </a:lnTo>
                  <a:lnTo>
                    <a:pt x="504" y="40"/>
                  </a:lnTo>
                  <a:lnTo>
                    <a:pt x="510" y="40"/>
                  </a:lnTo>
                  <a:lnTo>
                    <a:pt x="515" y="40"/>
                  </a:lnTo>
                  <a:lnTo>
                    <a:pt x="521" y="40"/>
                  </a:lnTo>
                  <a:lnTo>
                    <a:pt x="527" y="40"/>
                  </a:lnTo>
                  <a:lnTo>
                    <a:pt x="532" y="34"/>
                  </a:lnTo>
                  <a:lnTo>
                    <a:pt x="538" y="34"/>
                  </a:lnTo>
                  <a:lnTo>
                    <a:pt x="544" y="40"/>
                  </a:lnTo>
                  <a:lnTo>
                    <a:pt x="549" y="46"/>
                  </a:lnTo>
                  <a:lnTo>
                    <a:pt x="555" y="46"/>
                  </a:lnTo>
                  <a:lnTo>
                    <a:pt x="561" y="46"/>
                  </a:lnTo>
                  <a:lnTo>
                    <a:pt x="561" y="51"/>
                  </a:lnTo>
                  <a:lnTo>
                    <a:pt x="561" y="57"/>
                  </a:lnTo>
                  <a:lnTo>
                    <a:pt x="566" y="63"/>
                  </a:lnTo>
                  <a:lnTo>
                    <a:pt x="572" y="63"/>
                  </a:lnTo>
                  <a:lnTo>
                    <a:pt x="572" y="68"/>
                  </a:lnTo>
                  <a:lnTo>
                    <a:pt x="572" y="74"/>
                  </a:lnTo>
                  <a:lnTo>
                    <a:pt x="578" y="80"/>
                  </a:lnTo>
                  <a:lnTo>
                    <a:pt x="578" y="85"/>
                  </a:lnTo>
                  <a:lnTo>
                    <a:pt x="578" y="91"/>
                  </a:lnTo>
                  <a:lnTo>
                    <a:pt x="583" y="91"/>
                  </a:lnTo>
                  <a:lnTo>
                    <a:pt x="583" y="97"/>
                  </a:lnTo>
                  <a:lnTo>
                    <a:pt x="589" y="97"/>
                  </a:lnTo>
                  <a:lnTo>
                    <a:pt x="589" y="102"/>
                  </a:lnTo>
                  <a:lnTo>
                    <a:pt x="583" y="102"/>
                  </a:lnTo>
                  <a:lnTo>
                    <a:pt x="583" y="108"/>
                  </a:lnTo>
                  <a:lnTo>
                    <a:pt x="583" y="114"/>
                  </a:lnTo>
                  <a:lnTo>
                    <a:pt x="578" y="114"/>
                  </a:lnTo>
                  <a:lnTo>
                    <a:pt x="578" y="119"/>
                  </a:lnTo>
                  <a:lnTo>
                    <a:pt x="578" y="125"/>
                  </a:lnTo>
                  <a:lnTo>
                    <a:pt x="578" y="131"/>
                  </a:lnTo>
                  <a:lnTo>
                    <a:pt x="572" y="131"/>
                  </a:lnTo>
                  <a:lnTo>
                    <a:pt x="572" y="137"/>
                  </a:lnTo>
                  <a:lnTo>
                    <a:pt x="572" y="142"/>
                  </a:lnTo>
                  <a:lnTo>
                    <a:pt x="572" y="148"/>
                  </a:lnTo>
                  <a:lnTo>
                    <a:pt x="578" y="148"/>
                  </a:lnTo>
                  <a:lnTo>
                    <a:pt x="589" y="148"/>
                  </a:lnTo>
                  <a:lnTo>
                    <a:pt x="589" y="142"/>
                  </a:lnTo>
                  <a:lnTo>
                    <a:pt x="595" y="142"/>
                  </a:lnTo>
                  <a:lnTo>
                    <a:pt x="600" y="137"/>
                  </a:lnTo>
                  <a:lnTo>
                    <a:pt x="606" y="131"/>
                  </a:lnTo>
                  <a:lnTo>
                    <a:pt x="612" y="125"/>
                  </a:lnTo>
                  <a:lnTo>
                    <a:pt x="617" y="125"/>
                  </a:lnTo>
                  <a:lnTo>
                    <a:pt x="623" y="125"/>
                  </a:lnTo>
                  <a:lnTo>
                    <a:pt x="629" y="125"/>
                  </a:lnTo>
                  <a:lnTo>
                    <a:pt x="634" y="125"/>
                  </a:lnTo>
                  <a:lnTo>
                    <a:pt x="657" y="114"/>
                  </a:lnTo>
                  <a:lnTo>
                    <a:pt x="663" y="114"/>
                  </a:lnTo>
                  <a:lnTo>
                    <a:pt x="685" y="108"/>
                  </a:lnTo>
                  <a:lnTo>
                    <a:pt x="691" y="102"/>
                  </a:lnTo>
                  <a:lnTo>
                    <a:pt x="708" y="102"/>
                  </a:lnTo>
                  <a:lnTo>
                    <a:pt x="714" y="108"/>
                  </a:lnTo>
                  <a:lnTo>
                    <a:pt x="719" y="108"/>
                  </a:lnTo>
                  <a:lnTo>
                    <a:pt x="725" y="114"/>
                  </a:lnTo>
                  <a:lnTo>
                    <a:pt x="731" y="114"/>
                  </a:lnTo>
                  <a:lnTo>
                    <a:pt x="736" y="114"/>
                  </a:lnTo>
                  <a:lnTo>
                    <a:pt x="742" y="114"/>
                  </a:lnTo>
                  <a:lnTo>
                    <a:pt x="742" y="119"/>
                  </a:lnTo>
                  <a:lnTo>
                    <a:pt x="742" y="125"/>
                  </a:lnTo>
                  <a:lnTo>
                    <a:pt x="748" y="125"/>
                  </a:lnTo>
                  <a:lnTo>
                    <a:pt x="753" y="125"/>
                  </a:lnTo>
                  <a:lnTo>
                    <a:pt x="753" y="131"/>
                  </a:lnTo>
                  <a:lnTo>
                    <a:pt x="759" y="131"/>
                  </a:lnTo>
                  <a:lnTo>
                    <a:pt x="759" y="137"/>
                  </a:lnTo>
                  <a:lnTo>
                    <a:pt x="765" y="142"/>
                  </a:lnTo>
                  <a:lnTo>
                    <a:pt x="770" y="142"/>
                  </a:lnTo>
                  <a:lnTo>
                    <a:pt x="776" y="148"/>
                  </a:lnTo>
                  <a:lnTo>
                    <a:pt x="782" y="154"/>
                  </a:lnTo>
                  <a:lnTo>
                    <a:pt x="787" y="159"/>
                  </a:lnTo>
                  <a:lnTo>
                    <a:pt x="787" y="165"/>
                  </a:lnTo>
                  <a:lnTo>
                    <a:pt x="799" y="171"/>
                  </a:lnTo>
                  <a:lnTo>
                    <a:pt x="810" y="176"/>
                  </a:lnTo>
                  <a:lnTo>
                    <a:pt x="810" y="182"/>
                  </a:lnTo>
                  <a:lnTo>
                    <a:pt x="816" y="188"/>
                  </a:lnTo>
                  <a:lnTo>
                    <a:pt x="816" y="193"/>
                  </a:lnTo>
                  <a:lnTo>
                    <a:pt x="821" y="199"/>
                  </a:lnTo>
                  <a:lnTo>
                    <a:pt x="827" y="199"/>
                  </a:lnTo>
                  <a:lnTo>
                    <a:pt x="833" y="210"/>
                  </a:lnTo>
                  <a:lnTo>
                    <a:pt x="838" y="222"/>
                  </a:lnTo>
                  <a:lnTo>
                    <a:pt x="844" y="222"/>
                  </a:lnTo>
                  <a:lnTo>
                    <a:pt x="844" y="227"/>
                  </a:lnTo>
                  <a:lnTo>
                    <a:pt x="844" y="239"/>
                  </a:lnTo>
                  <a:lnTo>
                    <a:pt x="844" y="244"/>
                  </a:lnTo>
                  <a:lnTo>
                    <a:pt x="844" y="250"/>
                  </a:lnTo>
                  <a:lnTo>
                    <a:pt x="844" y="256"/>
                  </a:lnTo>
                  <a:lnTo>
                    <a:pt x="844" y="261"/>
                  </a:lnTo>
                  <a:lnTo>
                    <a:pt x="844" y="273"/>
                  </a:lnTo>
                  <a:lnTo>
                    <a:pt x="844" y="284"/>
                  </a:lnTo>
                  <a:lnTo>
                    <a:pt x="844" y="295"/>
                  </a:lnTo>
                  <a:lnTo>
                    <a:pt x="838" y="324"/>
                  </a:lnTo>
                  <a:lnTo>
                    <a:pt x="838" y="346"/>
                  </a:lnTo>
                  <a:lnTo>
                    <a:pt x="833" y="352"/>
                  </a:lnTo>
                  <a:lnTo>
                    <a:pt x="833" y="358"/>
                  </a:lnTo>
                  <a:lnTo>
                    <a:pt x="827" y="358"/>
                  </a:lnTo>
                  <a:lnTo>
                    <a:pt x="827" y="363"/>
                  </a:lnTo>
                  <a:lnTo>
                    <a:pt x="821" y="363"/>
                  </a:lnTo>
                  <a:lnTo>
                    <a:pt x="816" y="363"/>
                  </a:lnTo>
                  <a:lnTo>
                    <a:pt x="816" y="369"/>
                  </a:lnTo>
                  <a:lnTo>
                    <a:pt x="810" y="369"/>
                  </a:lnTo>
                  <a:lnTo>
                    <a:pt x="804" y="375"/>
                  </a:lnTo>
                  <a:lnTo>
                    <a:pt x="799" y="375"/>
                  </a:lnTo>
                  <a:lnTo>
                    <a:pt x="799" y="380"/>
                  </a:lnTo>
                  <a:lnTo>
                    <a:pt x="793" y="380"/>
                  </a:lnTo>
                  <a:lnTo>
                    <a:pt x="787" y="386"/>
                  </a:lnTo>
                  <a:lnTo>
                    <a:pt x="787" y="392"/>
                  </a:lnTo>
                  <a:lnTo>
                    <a:pt x="787" y="403"/>
                  </a:lnTo>
                  <a:lnTo>
                    <a:pt x="782" y="403"/>
                  </a:lnTo>
                  <a:lnTo>
                    <a:pt x="782" y="409"/>
                  </a:lnTo>
                  <a:lnTo>
                    <a:pt x="782" y="414"/>
                  </a:lnTo>
                  <a:lnTo>
                    <a:pt x="782" y="420"/>
                  </a:lnTo>
                  <a:lnTo>
                    <a:pt x="776" y="426"/>
                  </a:lnTo>
                  <a:lnTo>
                    <a:pt x="776" y="431"/>
                  </a:lnTo>
                  <a:lnTo>
                    <a:pt x="770" y="431"/>
                  </a:lnTo>
                  <a:lnTo>
                    <a:pt x="770" y="437"/>
                  </a:lnTo>
                  <a:lnTo>
                    <a:pt x="765" y="443"/>
                  </a:lnTo>
                  <a:lnTo>
                    <a:pt x="765" y="448"/>
                  </a:lnTo>
                  <a:lnTo>
                    <a:pt x="759" y="448"/>
                  </a:lnTo>
                  <a:lnTo>
                    <a:pt x="759" y="460"/>
                  </a:lnTo>
                  <a:lnTo>
                    <a:pt x="759" y="482"/>
                  </a:lnTo>
                  <a:lnTo>
                    <a:pt x="759" y="488"/>
                  </a:lnTo>
                  <a:lnTo>
                    <a:pt x="765" y="494"/>
                  </a:lnTo>
                  <a:lnTo>
                    <a:pt x="765" y="499"/>
                  </a:lnTo>
                  <a:lnTo>
                    <a:pt x="765" y="505"/>
                  </a:lnTo>
                  <a:lnTo>
                    <a:pt x="765" y="528"/>
                  </a:lnTo>
                  <a:lnTo>
                    <a:pt x="765" y="533"/>
                  </a:lnTo>
                  <a:lnTo>
                    <a:pt x="759" y="550"/>
                  </a:lnTo>
                  <a:lnTo>
                    <a:pt x="759" y="562"/>
                  </a:lnTo>
                  <a:lnTo>
                    <a:pt x="753" y="573"/>
                  </a:lnTo>
                  <a:lnTo>
                    <a:pt x="753" y="579"/>
                  </a:lnTo>
                  <a:lnTo>
                    <a:pt x="753" y="584"/>
                  </a:lnTo>
                  <a:lnTo>
                    <a:pt x="748" y="584"/>
                  </a:lnTo>
                  <a:lnTo>
                    <a:pt x="748" y="579"/>
                  </a:lnTo>
                  <a:lnTo>
                    <a:pt x="742" y="573"/>
                  </a:lnTo>
                  <a:lnTo>
                    <a:pt x="742" y="579"/>
                  </a:lnTo>
                  <a:lnTo>
                    <a:pt x="736" y="579"/>
                  </a:lnTo>
                  <a:lnTo>
                    <a:pt x="731" y="579"/>
                  </a:lnTo>
                  <a:lnTo>
                    <a:pt x="725" y="573"/>
                  </a:lnTo>
                  <a:lnTo>
                    <a:pt x="725" y="579"/>
                  </a:lnTo>
                  <a:lnTo>
                    <a:pt x="719" y="584"/>
                  </a:lnTo>
                  <a:lnTo>
                    <a:pt x="719" y="590"/>
                  </a:lnTo>
                  <a:lnTo>
                    <a:pt x="719" y="596"/>
                  </a:lnTo>
                  <a:lnTo>
                    <a:pt x="714" y="601"/>
                  </a:lnTo>
                  <a:lnTo>
                    <a:pt x="708" y="607"/>
                  </a:lnTo>
                  <a:lnTo>
                    <a:pt x="702" y="607"/>
                  </a:lnTo>
                  <a:lnTo>
                    <a:pt x="697" y="607"/>
                  </a:lnTo>
                  <a:lnTo>
                    <a:pt x="691" y="607"/>
                  </a:lnTo>
                  <a:lnTo>
                    <a:pt x="691" y="590"/>
                  </a:lnTo>
                  <a:lnTo>
                    <a:pt x="691" y="584"/>
                  </a:lnTo>
                  <a:lnTo>
                    <a:pt x="685" y="584"/>
                  </a:lnTo>
                  <a:lnTo>
                    <a:pt x="685" y="579"/>
                  </a:lnTo>
                  <a:lnTo>
                    <a:pt x="680" y="573"/>
                  </a:lnTo>
                  <a:lnTo>
                    <a:pt x="668" y="573"/>
                  </a:lnTo>
                  <a:lnTo>
                    <a:pt x="668" y="567"/>
                  </a:lnTo>
                  <a:lnTo>
                    <a:pt x="663" y="562"/>
                  </a:lnTo>
                  <a:lnTo>
                    <a:pt x="657" y="562"/>
                  </a:lnTo>
                  <a:lnTo>
                    <a:pt x="657" y="556"/>
                  </a:lnTo>
                  <a:lnTo>
                    <a:pt x="651" y="550"/>
                  </a:lnTo>
                  <a:lnTo>
                    <a:pt x="651" y="545"/>
                  </a:lnTo>
                  <a:lnTo>
                    <a:pt x="646" y="545"/>
                  </a:lnTo>
                  <a:lnTo>
                    <a:pt x="646" y="539"/>
                  </a:lnTo>
                  <a:lnTo>
                    <a:pt x="646" y="533"/>
                  </a:lnTo>
                  <a:lnTo>
                    <a:pt x="646" y="528"/>
                  </a:lnTo>
                  <a:lnTo>
                    <a:pt x="640" y="528"/>
                  </a:lnTo>
                  <a:lnTo>
                    <a:pt x="634" y="522"/>
                  </a:lnTo>
                  <a:lnTo>
                    <a:pt x="629" y="522"/>
                  </a:lnTo>
                  <a:lnTo>
                    <a:pt x="623" y="522"/>
                  </a:lnTo>
                  <a:lnTo>
                    <a:pt x="617" y="522"/>
                  </a:lnTo>
                  <a:lnTo>
                    <a:pt x="606" y="522"/>
                  </a:lnTo>
                  <a:lnTo>
                    <a:pt x="600" y="522"/>
                  </a:lnTo>
                  <a:lnTo>
                    <a:pt x="589" y="522"/>
                  </a:lnTo>
                  <a:lnTo>
                    <a:pt x="583" y="528"/>
                  </a:lnTo>
                  <a:lnTo>
                    <a:pt x="578" y="528"/>
                  </a:lnTo>
                  <a:lnTo>
                    <a:pt x="572" y="528"/>
                  </a:lnTo>
                  <a:lnTo>
                    <a:pt x="572" y="533"/>
                  </a:lnTo>
                  <a:lnTo>
                    <a:pt x="566" y="533"/>
                  </a:lnTo>
                  <a:lnTo>
                    <a:pt x="561" y="539"/>
                  </a:lnTo>
                  <a:lnTo>
                    <a:pt x="555" y="539"/>
                  </a:lnTo>
                  <a:lnTo>
                    <a:pt x="549" y="539"/>
                  </a:lnTo>
                  <a:lnTo>
                    <a:pt x="549" y="533"/>
                  </a:lnTo>
                  <a:lnTo>
                    <a:pt x="544" y="533"/>
                  </a:lnTo>
                  <a:lnTo>
                    <a:pt x="544" y="528"/>
                  </a:lnTo>
                  <a:lnTo>
                    <a:pt x="538" y="528"/>
                  </a:lnTo>
                  <a:lnTo>
                    <a:pt x="532" y="528"/>
                  </a:lnTo>
                  <a:lnTo>
                    <a:pt x="527" y="516"/>
                  </a:lnTo>
                  <a:lnTo>
                    <a:pt x="521" y="516"/>
                  </a:lnTo>
                  <a:lnTo>
                    <a:pt x="521" y="505"/>
                  </a:lnTo>
                  <a:lnTo>
                    <a:pt x="521" y="499"/>
                  </a:lnTo>
                  <a:lnTo>
                    <a:pt x="521" y="494"/>
                  </a:lnTo>
                  <a:lnTo>
                    <a:pt x="521" y="488"/>
                  </a:lnTo>
                  <a:lnTo>
                    <a:pt x="527" y="482"/>
                  </a:lnTo>
                  <a:lnTo>
                    <a:pt x="527" y="477"/>
                  </a:lnTo>
                  <a:lnTo>
                    <a:pt x="521" y="477"/>
                  </a:lnTo>
                  <a:lnTo>
                    <a:pt x="515" y="477"/>
                  </a:lnTo>
                  <a:lnTo>
                    <a:pt x="510" y="471"/>
                  </a:lnTo>
                  <a:lnTo>
                    <a:pt x="504" y="471"/>
                  </a:lnTo>
                  <a:lnTo>
                    <a:pt x="493" y="471"/>
                  </a:lnTo>
                  <a:lnTo>
                    <a:pt x="487" y="471"/>
                  </a:lnTo>
                  <a:lnTo>
                    <a:pt x="476" y="465"/>
                  </a:lnTo>
                  <a:lnTo>
                    <a:pt x="470" y="465"/>
                  </a:lnTo>
                  <a:lnTo>
                    <a:pt x="459" y="460"/>
                  </a:lnTo>
                  <a:lnTo>
                    <a:pt x="453" y="460"/>
                  </a:lnTo>
                  <a:lnTo>
                    <a:pt x="447" y="460"/>
                  </a:lnTo>
                  <a:lnTo>
                    <a:pt x="442" y="460"/>
                  </a:lnTo>
                  <a:lnTo>
                    <a:pt x="430" y="454"/>
                  </a:lnTo>
                  <a:lnTo>
                    <a:pt x="425" y="454"/>
                  </a:lnTo>
                  <a:lnTo>
                    <a:pt x="413" y="454"/>
                  </a:lnTo>
                  <a:lnTo>
                    <a:pt x="408" y="454"/>
                  </a:lnTo>
                  <a:lnTo>
                    <a:pt x="402" y="448"/>
                  </a:lnTo>
                  <a:lnTo>
                    <a:pt x="396" y="448"/>
                  </a:lnTo>
                  <a:lnTo>
                    <a:pt x="391" y="448"/>
                  </a:lnTo>
                  <a:lnTo>
                    <a:pt x="391" y="454"/>
                  </a:lnTo>
                  <a:lnTo>
                    <a:pt x="385" y="460"/>
                  </a:lnTo>
                  <a:lnTo>
                    <a:pt x="379" y="460"/>
                  </a:lnTo>
                  <a:lnTo>
                    <a:pt x="379" y="465"/>
                  </a:lnTo>
                  <a:lnTo>
                    <a:pt x="374" y="465"/>
                  </a:lnTo>
                  <a:lnTo>
                    <a:pt x="368" y="471"/>
                  </a:lnTo>
                  <a:lnTo>
                    <a:pt x="368" y="477"/>
                  </a:lnTo>
                  <a:lnTo>
                    <a:pt x="379" y="477"/>
                  </a:lnTo>
                  <a:lnTo>
                    <a:pt x="385" y="477"/>
                  </a:lnTo>
                  <a:lnTo>
                    <a:pt x="391" y="477"/>
                  </a:lnTo>
                  <a:lnTo>
                    <a:pt x="396" y="482"/>
                  </a:lnTo>
                  <a:lnTo>
                    <a:pt x="396" y="488"/>
                  </a:lnTo>
                  <a:lnTo>
                    <a:pt x="396" y="494"/>
                  </a:lnTo>
                  <a:lnTo>
                    <a:pt x="396" y="499"/>
                  </a:lnTo>
                  <a:lnTo>
                    <a:pt x="396" y="505"/>
                  </a:lnTo>
                  <a:lnTo>
                    <a:pt x="391" y="505"/>
                  </a:lnTo>
                  <a:lnTo>
                    <a:pt x="385" y="511"/>
                  </a:lnTo>
                  <a:lnTo>
                    <a:pt x="379" y="516"/>
                  </a:lnTo>
                  <a:lnTo>
                    <a:pt x="368" y="516"/>
                  </a:lnTo>
                  <a:lnTo>
                    <a:pt x="368" y="511"/>
                  </a:lnTo>
                  <a:lnTo>
                    <a:pt x="362" y="511"/>
                  </a:lnTo>
                  <a:lnTo>
                    <a:pt x="351" y="511"/>
                  </a:lnTo>
                  <a:lnTo>
                    <a:pt x="340" y="511"/>
                  </a:lnTo>
                  <a:lnTo>
                    <a:pt x="328" y="516"/>
                  </a:lnTo>
                  <a:lnTo>
                    <a:pt x="323" y="516"/>
                  </a:lnTo>
                  <a:lnTo>
                    <a:pt x="317" y="516"/>
                  </a:lnTo>
                  <a:lnTo>
                    <a:pt x="311" y="528"/>
                  </a:lnTo>
                  <a:lnTo>
                    <a:pt x="306" y="528"/>
                  </a:lnTo>
                  <a:lnTo>
                    <a:pt x="306" y="533"/>
                  </a:lnTo>
                  <a:lnTo>
                    <a:pt x="294" y="539"/>
                  </a:lnTo>
                  <a:lnTo>
                    <a:pt x="294" y="545"/>
                  </a:lnTo>
                  <a:lnTo>
                    <a:pt x="289" y="545"/>
                  </a:lnTo>
                  <a:lnTo>
                    <a:pt x="283" y="545"/>
                  </a:lnTo>
                  <a:lnTo>
                    <a:pt x="283" y="539"/>
                  </a:lnTo>
                  <a:lnTo>
                    <a:pt x="283" y="533"/>
                  </a:lnTo>
                  <a:lnTo>
                    <a:pt x="277" y="533"/>
                  </a:lnTo>
                  <a:lnTo>
                    <a:pt x="277" y="528"/>
                  </a:lnTo>
                  <a:lnTo>
                    <a:pt x="277" y="522"/>
                  </a:lnTo>
                  <a:lnTo>
                    <a:pt x="272" y="516"/>
                  </a:lnTo>
                  <a:lnTo>
                    <a:pt x="266" y="516"/>
                  </a:lnTo>
                  <a:lnTo>
                    <a:pt x="266" y="505"/>
                  </a:lnTo>
                  <a:lnTo>
                    <a:pt x="260" y="505"/>
                  </a:lnTo>
                  <a:lnTo>
                    <a:pt x="260" y="499"/>
                  </a:lnTo>
                  <a:lnTo>
                    <a:pt x="255" y="499"/>
                  </a:lnTo>
                  <a:lnTo>
                    <a:pt x="255" y="494"/>
                  </a:lnTo>
                  <a:lnTo>
                    <a:pt x="249" y="494"/>
                  </a:lnTo>
                  <a:lnTo>
                    <a:pt x="243" y="494"/>
                  </a:lnTo>
                  <a:lnTo>
                    <a:pt x="238" y="494"/>
                  </a:lnTo>
                  <a:lnTo>
                    <a:pt x="238" y="499"/>
                  </a:lnTo>
                  <a:lnTo>
                    <a:pt x="232" y="499"/>
                  </a:lnTo>
                  <a:lnTo>
                    <a:pt x="226" y="499"/>
                  </a:lnTo>
                  <a:lnTo>
                    <a:pt x="215" y="505"/>
                  </a:lnTo>
                  <a:lnTo>
                    <a:pt x="209" y="511"/>
                  </a:lnTo>
                  <a:lnTo>
                    <a:pt x="198" y="516"/>
                  </a:lnTo>
                  <a:lnTo>
                    <a:pt x="187" y="516"/>
                  </a:lnTo>
                  <a:lnTo>
                    <a:pt x="181" y="516"/>
                  </a:lnTo>
                  <a:lnTo>
                    <a:pt x="175" y="516"/>
                  </a:lnTo>
                  <a:lnTo>
                    <a:pt x="170" y="516"/>
                  </a:lnTo>
                  <a:lnTo>
                    <a:pt x="164" y="522"/>
                  </a:lnTo>
                  <a:lnTo>
                    <a:pt x="164" y="528"/>
                  </a:lnTo>
                  <a:lnTo>
                    <a:pt x="158" y="533"/>
                  </a:lnTo>
                  <a:lnTo>
                    <a:pt x="158" y="545"/>
                  </a:lnTo>
                  <a:lnTo>
                    <a:pt x="158" y="556"/>
                  </a:lnTo>
                  <a:lnTo>
                    <a:pt x="158" y="562"/>
                  </a:lnTo>
                  <a:lnTo>
                    <a:pt x="158" y="567"/>
                  </a:lnTo>
                  <a:lnTo>
                    <a:pt x="158" y="573"/>
                  </a:lnTo>
                  <a:lnTo>
                    <a:pt x="153" y="579"/>
                  </a:lnTo>
                  <a:lnTo>
                    <a:pt x="153" y="584"/>
                  </a:lnTo>
                  <a:lnTo>
                    <a:pt x="147" y="584"/>
                  </a:lnTo>
                  <a:lnTo>
                    <a:pt x="141" y="584"/>
                  </a:lnTo>
                  <a:lnTo>
                    <a:pt x="141" y="579"/>
                  </a:lnTo>
                  <a:lnTo>
                    <a:pt x="136" y="579"/>
                  </a:lnTo>
                  <a:lnTo>
                    <a:pt x="130" y="573"/>
                  </a:lnTo>
                  <a:lnTo>
                    <a:pt x="124" y="567"/>
                  </a:lnTo>
                  <a:lnTo>
                    <a:pt x="119" y="562"/>
                  </a:lnTo>
                  <a:lnTo>
                    <a:pt x="113" y="562"/>
                  </a:lnTo>
                  <a:lnTo>
                    <a:pt x="113" y="556"/>
                  </a:lnTo>
                  <a:lnTo>
                    <a:pt x="107" y="550"/>
                  </a:lnTo>
                  <a:lnTo>
                    <a:pt x="107" y="545"/>
                  </a:lnTo>
                  <a:lnTo>
                    <a:pt x="107" y="533"/>
                  </a:lnTo>
                  <a:lnTo>
                    <a:pt x="113" y="533"/>
                  </a:lnTo>
                  <a:lnTo>
                    <a:pt x="113" y="528"/>
                  </a:lnTo>
                  <a:lnTo>
                    <a:pt x="113" y="522"/>
                  </a:lnTo>
                  <a:lnTo>
                    <a:pt x="119" y="516"/>
                  </a:lnTo>
                  <a:lnTo>
                    <a:pt x="124" y="511"/>
                  </a:lnTo>
                  <a:lnTo>
                    <a:pt x="124" y="505"/>
                  </a:lnTo>
                  <a:lnTo>
                    <a:pt x="124" y="499"/>
                  </a:lnTo>
                  <a:lnTo>
                    <a:pt x="124" y="494"/>
                  </a:lnTo>
                  <a:lnTo>
                    <a:pt x="124" y="488"/>
                  </a:lnTo>
                  <a:lnTo>
                    <a:pt x="119" y="477"/>
                  </a:lnTo>
                  <a:lnTo>
                    <a:pt x="113" y="471"/>
                  </a:lnTo>
                  <a:lnTo>
                    <a:pt x="113" y="465"/>
                  </a:lnTo>
                  <a:lnTo>
                    <a:pt x="107" y="465"/>
                  </a:lnTo>
                  <a:lnTo>
                    <a:pt x="102" y="460"/>
                  </a:lnTo>
                  <a:lnTo>
                    <a:pt x="102" y="454"/>
                  </a:lnTo>
                  <a:lnTo>
                    <a:pt x="96" y="454"/>
                  </a:lnTo>
                  <a:lnTo>
                    <a:pt x="90" y="454"/>
                  </a:lnTo>
                  <a:lnTo>
                    <a:pt x="85" y="454"/>
                  </a:lnTo>
                  <a:lnTo>
                    <a:pt x="79" y="460"/>
                  </a:lnTo>
                  <a:lnTo>
                    <a:pt x="73" y="460"/>
                  </a:lnTo>
                  <a:lnTo>
                    <a:pt x="68" y="460"/>
                  </a:lnTo>
                  <a:lnTo>
                    <a:pt x="68" y="465"/>
                  </a:lnTo>
                  <a:lnTo>
                    <a:pt x="62" y="465"/>
                  </a:lnTo>
                  <a:lnTo>
                    <a:pt x="51" y="465"/>
                  </a:lnTo>
                  <a:lnTo>
                    <a:pt x="45" y="465"/>
                  </a:lnTo>
                  <a:lnTo>
                    <a:pt x="39" y="460"/>
                  </a:lnTo>
                  <a:lnTo>
                    <a:pt x="34" y="454"/>
                  </a:lnTo>
                  <a:lnTo>
                    <a:pt x="28" y="448"/>
                  </a:lnTo>
                  <a:lnTo>
                    <a:pt x="28" y="443"/>
                  </a:lnTo>
                  <a:lnTo>
                    <a:pt x="22" y="437"/>
                  </a:lnTo>
                  <a:lnTo>
                    <a:pt x="17" y="437"/>
                  </a:lnTo>
                  <a:lnTo>
                    <a:pt x="17" y="431"/>
                  </a:lnTo>
                  <a:lnTo>
                    <a:pt x="11" y="431"/>
                  </a:lnTo>
                  <a:lnTo>
                    <a:pt x="11" y="426"/>
                  </a:lnTo>
                  <a:lnTo>
                    <a:pt x="5" y="420"/>
                  </a:lnTo>
                  <a:lnTo>
                    <a:pt x="0" y="420"/>
                  </a:lnTo>
                  <a:lnTo>
                    <a:pt x="0" y="414"/>
                  </a:lnTo>
                  <a:lnTo>
                    <a:pt x="0" y="409"/>
                  </a:lnTo>
                  <a:lnTo>
                    <a:pt x="0" y="403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1" name="Freeform 20"/>
            <p:cNvSpPr>
              <a:spLocks/>
            </p:cNvSpPr>
            <p:nvPr/>
          </p:nvSpPr>
          <p:spPr bwMode="gray">
            <a:xfrm>
              <a:off x="2752350" y="3979501"/>
              <a:ext cx="834869" cy="1044182"/>
            </a:xfrm>
            <a:custGeom>
              <a:avLst/>
              <a:gdLst>
                <a:gd name="T0" fmla="*/ 2147483647 w 595"/>
                <a:gd name="T1" fmla="*/ 2147483647 h 783"/>
                <a:gd name="T2" fmla="*/ 2147483647 w 595"/>
                <a:gd name="T3" fmla="*/ 2147483647 h 783"/>
                <a:gd name="T4" fmla="*/ 2147483647 w 595"/>
                <a:gd name="T5" fmla="*/ 2147483647 h 783"/>
                <a:gd name="T6" fmla="*/ 2147483647 w 595"/>
                <a:gd name="T7" fmla="*/ 2147483647 h 783"/>
                <a:gd name="T8" fmla="*/ 2147483647 w 595"/>
                <a:gd name="T9" fmla="*/ 2147483647 h 783"/>
                <a:gd name="T10" fmla="*/ 2147483647 w 595"/>
                <a:gd name="T11" fmla="*/ 2147483647 h 783"/>
                <a:gd name="T12" fmla="*/ 2147483647 w 595"/>
                <a:gd name="T13" fmla="*/ 2147483647 h 783"/>
                <a:gd name="T14" fmla="*/ 2147483647 w 595"/>
                <a:gd name="T15" fmla="*/ 2147483647 h 783"/>
                <a:gd name="T16" fmla="*/ 2147483647 w 595"/>
                <a:gd name="T17" fmla="*/ 2147483647 h 783"/>
                <a:gd name="T18" fmla="*/ 2147483647 w 595"/>
                <a:gd name="T19" fmla="*/ 2147483647 h 783"/>
                <a:gd name="T20" fmla="*/ 2147483647 w 595"/>
                <a:gd name="T21" fmla="*/ 2147483647 h 783"/>
                <a:gd name="T22" fmla="*/ 2147483647 w 595"/>
                <a:gd name="T23" fmla="*/ 2147483647 h 783"/>
                <a:gd name="T24" fmla="*/ 2147483647 w 595"/>
                <a:gd name="T25" fmla="*/ 2147483647 h 783"/>
                <a:gd name="T26" fmla="*/ 2147483647 w 595"/>
                <a:gd name="T27" fmla="*/ 2147483647 h 783"/>
                <a:gd name="T28" fmla="*/ 2147483647 w 595"/>
                <a:gd name="T29" fmla="*/ 2147483647 h 783"/>
                <a:gd name="T30" fmla="*/ 2147483647 w 595"/>
                <a:gd name="T31" fmla="*/ 2147483647 h 783"/>
                <a:gd name="T32" fmla="*/ 2147483647 w 595"/>
                <a:gd name="T33" fmla="*/ 2147483647 h 783"/>
                <a:gd name="T34" fmla="*/ 2147483647 w 595"/>
                <a:gd name="T35" fmla="*/ 2147483647 h 783"/>
                <a:gd name="T36" fmla="*/ 2147483647 w 595"/>
                <a:gd name="T37" fmla="*/ 2147483647 h 783"/>
                <a:gd name="T38" fmla="*/ 2147483647 w 595"/>
                <a:gd name="T39" fmla="*/ 2147483647 h 783"/>
                <a:gd name="T40" fmla="*/ 2147483647 w 595"/>
                <a:gd name="T41" fmla="*/ 2147483647 h 783"/>
                <a:gd name="T42" fmla="*/ 2147483647 w 595"/>
                <a:gd name="T43" fmla="*/ 2147483647 h 783"/>
                <a:gd name="T44" fmla="*/ 2147483647 w 595"/>
                <a:gd name="T45" fmla="*/ 2147483647 h 783"/>
                <a:gd name="T46" fmla="*/ 2147483647 w 595"/>
                <a:gd name="T47" fmla="*/ 2147483647 h 783"/>
                <a:gd name="T48" fmla="*/ 2147483647 w 595"/>
                <a:gd name="T49" fmla="*/ 0 h 783"/>
                <a:gd name="T50" fmla="*/ 2147483647 w 595"/>
                <a:gd name="T51" fmla="*/ 2147483647 h 783"/>
                <a:gd name="T52" fmla="*/ 2147483647 w 595"/>
                <a:gd name="T53" fmla="*/ 2147483647 h 783"/>
                <a:gd name="T54" fmla="*/ 2147483647 w 595"/>
                <a:gd name="T55" fmla="*/ 2147483647 h 783"/>
                <a:gd name="T56" fmla="*/ 2147483647 w 595"/>
                <a:gd name="T57" fmla="*/ 2147483647 h 783"/>
                <a:gd name="T58" fmla="*/ 2147483647 w 595"/>
                <a:gd name="T59" fmla="*/ 2147483647 h 783"/>
                <a:gd name="T60" fmla="*/ 2147483647 w 595"/>
                <a:gd name="T61" fmla="*/ 2147483647 h 783"/>
                <a:gd name="T62" fmla="*/ 2147483647 w 595"/>
                <a:gd name="T63" fmla="*/ 2147483647 h 783"/>
                <a:gd name="T64" fmla="*/ 2147483647 w 595"/>
                <a:gd name="T65" fmla="*/ 2147483647 h 783"/>
                <a:gd name="T66" fmla="*/ 2147483647 w 595"/>
                <a:gd name="T67" fmla="*/ 2147483647 h 783"/>
                <a:gd name="T68" fmla="*/ 2147483647 w 595"/>
                <a:gd name="T69" fmla="*/ 2147483647 h 783"/>
                <a:gd name="T70" fmla="*/ 2147483647 w 595"/>
                <a:gd name="T71" fmla="*/ 2147483647 h 783"/>
                <a:gd name="T72" fmla="*/ 2147483647 w 595"/>
                <a:gd name="T73" fmla="*/ 2147483647 h 783"/>
                <a:gd name="T74" fmla="*/ 2147483647 w 595"/>
                <a:gd name="T75" fmla="*/ 2147483647 h 783"/>
                <a:gd name="T76" fmla="*/ 2147483647 w 595"/>
                <a:gd name="T77" fmla="*/ 2147483647 h 783"/>
                <a:gd name="T78" fmla="*/ 2147483647 w 595"/>
                <a:gd name="T79" fmla="*/ 2147483647 h 783"/>
                <a:gd name="T80" fmla="*/ 2147483647 w 595"/>
                <a:gd name="T81" fmla="*/ 2147483647 h 783"/>
                <a:gd name="T82" fmla="*/ 2147483647 w 595"/>
                <a:gd name="T83" fmla="*/ 2147483647 h 783"/>
                <a:gd name="T84" fmla="*/ 2147483647 w 595"/>
                <a:gd name="T85" fmla="*/ 2147483647 h 783"/>
                <a:gd name="T86" fmla="*/ 2147483647 w 595"/>
                <a:gd name="T87" fmla="*/ 2147483647 h 783"/>
                <a:gd name="T88" fmla="*/ 2147483647 w 595"/>
                <a:gd name="T89" fmla="*/ 2147483647 h 783"/>
                <a:gd name="T90" fmla="*/ 2147483647 w 595"/>
                <a:gd name="T91" fmla="*/ 2147483647 h 783"/>
                <a:gd name="T92" fmla="*/ 2147483647 w 595"/>
                <a:gd name="T93" fmla="*/ 2147483647 h 783"/>
                <a:gd name="T94" fmla="*/ 2147483647 w 595"/>
                <a:gd name="T95" fmla="*/ 2147483647 h 783"/>
                <a:gd name="T96" fmla="*/ 2147483647 w 595"/>
                <a:gd name="T97" fmla="*/ 2147483647 h 783"/>
                <a:gd name="T98" fmla="*/ 2147483647 w 595"/>
                <a:gd name="T99" fmla="*/ 2147483647 h 783"/>
                <a:gd name="T100" fmla="*/ 2147483647 w 595"/>
                <a:gd name="T101" fmla="*/ 2147483647 h 783"/>
                <a:gd name="T102" fmla="*/ 2147483647 w 595"/>
                <a:gd name="T103" fmla="*/ 2147483647 h 783"/>
                <a:gd name="T104" fmla="*/ 2147483647 w 595"/>
                <a:gd name="T105" fmla="*/ 2147483647 h 783"/>
                <a:gd name="T106" fmla="*/ 2147483647 w 595"/>
                <a:gd name="T107" fmla="*/ 2147483647 h 783"/>
                <a:gd name="T108" fmla="*/ 2147483647 w 595"/>
                <a:gd name="T109" fmla="*/ 2147483647 h 783"/>
                <a:gd name="T110" fmla="*/ 2147483647 w 595"/>
                <a:gd name="T111" fmla="*/ 2147483647 h 7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95"/>
                <a:gd name="T169" fmla="*/ 0 h 783"/>
                <a:gd name="T170" fmla="*/ 595 w 595"/>
                <a:gd name="T171" fmla="*/ 783 h 7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95" h="783">
                  <a:moveTo>
                    <a:pt x="164" y="726"/>
                  </a:moveTo>
                  <a:lnTo>
                    <a:pt x="159" y="709"/>
                  </a:lnTo>
                  <a:lnTo>
                    <a:pt x="142" y="692"/>
                  </a:lnTo>
                  <a:lnTo>
                    <a:pt x="142" y="686"/>
                  </a:lnTo>
                  <a:lnTo>
                    <a:pt x="130" y="681"/>
                  </a:lnTo>
                  <a:lnTo>
                    <a:pt x="119" y="675"/>
                  </a:lnTo>
                  <a:lnTo>
                    <a:pt x="113" y="675"/>
                  </a:lnTo>
                  <a:lnTo>
                    <a:pt x="102" y="664"/>
                  </a:lnTo>
                  <a:lnTo>
                    <a:pt x="96" y="647"/>
                  </a:lnTo>
                  <a:lnTo>
                    <a:pt x="85" y="630"/>
                  </a:lnTo>
                  <a:lnTo>
                    <a:pt x="85" y="624"/>
                  </a:lnTo>
                  <a:lnTo>
                    <a:pt x="85" y="613"/>
                  </a:lnTo>
                  <a:lnTo>
                    <a:pt x="91" y="601"/>
                  </a:lnTo>
                  <a:lnTo>
                    <a:pt x="91" y="595"/>
                  </a:lnTo>
                  <a:lnTo>
                    <a:pt x="85" y="584"/>
                  </a:lnTo>
                  <a:lnTo>
                    <a:pt x="74" y="578"/>
                  </a:lnTo>
                  <a:lnTo>
                    <a:pt x="62" y="578"/>
                  </a:lnTo>
                  <a:lnTo>
                    <a:pt x="57" y="578"/>
                  </a:lnTo>
                  <a:lnTo>
                    <a:pt x="45" y="578"/>
                  </a:lnTo>
                  <a:lnTo>
                    <a:pt x="34" y="573"/>
                  </a:lnTo>
                  <a:lnTo>
                    <a:pt x="28" y="573"/>
                  </a:lnTo>
                  <a:lnTo>
                    <a:pt x="23" y="567"/>
                  </a:lnTo>
                  <a:lnTo>
                    <a:pt x="17" y="567"/>
                  </a:lnTo>
                  <a:lnTo>
                    <a:pt x="6" y="561"/>
                  </a:lnTo>
                  <a:lnTo>
                    <a:pt x="6" y="556"/>
                  </a:lnTo>
                  <a:lnTo>
                    <a:pt x="0" y="556"/>
                  </a:lnTo>
                  <a:lnTo>
                    <a:pt x="0" y="550"/>
                  </a:lnTo>
                  <a:lnTo>
                    <a:pt x="6" y="550"/>
                  </a:lnTo>
                  <a:lnTo>
                    <a:pt x="11" y="550"/>
                  </a:lnTo>
                  <a:lnTo>
                    <a:pt x="11" y="544"/>
                  </a:lnTo>
                  <a:lnTo>
                    <a:pt x="6" y="539"/>
                  </a:lnTo>
                  <a:lnTo>
                    <a:pt x="11" y="533"/>
                  </a:lnTo>
                  <a:lnTo>
                    <a:pt x="17" y="527"/>
                  </a:lnTo>
                  <a:lnTo>
                    <a:pt x="17" y="533"/>
                  </a:lnTo>
                  <a:lnTo>
                    <a:pt x="28" y="539"/>
                  </a:lnTo>
                  <a:lnTo>
                    <a:pt x="34" y="539"/>
                  </a:lnTo>
                  <a:lnTo>
                    <a:pt x="40" y="527"/>
                  </a:lnTo>
                  <a:lnTo>
                    <a:pt x="34" y="522"/>
                  </a:lnTo>
                  <a:lnTo>
                    <a:pt x="34" y="516"/>
                  </a:lnTo>
                  <a:lnTo>
                    <a:pt x="34" y="510"/>
                  </a:lnTo>
                  <a:lnTo>
                    <a:pt x="28" y="499"/>
                  </a:lnTo>
                  <a:lnTo>
                    <a:pt x="23" y="488"/>
                  </a:lnTo>
                  <a:lnTo>
                    <a:pt x="23" y="482"/>
                  </a:lnTo>
                  <a:lnTo>
                    <a:pt x="23" y="476"/>
                  </a:lnTo>
                  <a:lnTo>
                    <a:pt x="23" y="471"/>
                  </a:lnTo>
                  <a:lnTo>
                    <a:pt x="17" y="454"/>
                  </a:lnTo>
                  <a:lnTo>
                    <a:pt x="17" y="442"/>
                  </a:lnTo>
                  <a:lnTo>
                    <a:pt x="17" y="431"/>
                  </a:lnTo>
                  <a:lnTo>
                    <a:pt x="17" y="425"/>
                  </a:lnTo>
                  <a:lnTo>
                    <a:pt x="11" y="420"/>
                  </a:lnTo>
                  <a:lnTo>
                    <a:pt x="17" y="414"/>
                  </a:lnTo>
                  <a:lnTo>
                    <a:pt x="23" y="403"/>
                  </a:lnTo>
                  <a:lnTo>
                    <a:pt x="28" y="403"/>
                  </a:lnTo>
                  <a:lnTo>
                    <a:pt x="28" y="397"/>
                  </a:lnTo>
                  <a:lnTo>
                    <a:pt x="34" y="391"/>
                  </a:lnTo>
                  <a:lnTo>
                    <a:pt x="34" y="380"/>
                  </a:lnTo>
                  <a:lnTo>
                    <a:pt x="28" y="374"/>
                  </a:lnTo>
                  <a:lnTo>
                    <a:pt x="34" y="369"/>
                  </a:lnTo>
                  <a:lnTo>
                    <a:pt x="45" y="363"/>
                  </a:lnTo>
                  <a:lnTo>
                    <a:pt x="45" y="346"/>
                  </a:lnTo>
                  <a:lnTo>
                    <a:pt x="51" y="335"/>
                  </a:lnTo>
                  <a:lnTo>
                    <a:pt x="51" y="329"/>
                  </a:lnTo>
                  <a:lnTo>
                    <a:pt x="45" y="323"/>
                  </a:lnTo>
                  <a:lnTo>
                    <a:pt x="45" y="318"/>
                  </a:lnTo>
                  <a:lnTo>
                    <a:pt x="45" y="312"/>
                  </a:lnTo>
                  <a:lnTo>
                    <a:pt x="57" y="306"/>
                  </a:lnTo>
                  <a:lnTo>
                    <a:pt x="74" y="306"/>
                  </a:lnTo>
                  <a:lnTo>
                    <a:pt x="74" y="318"/>
                  </a:lnTo>
                  <a:lnTo>
                    <a:pt x="79" y="312"/>
                  </a:lnTo>
                  <a:lnTo>
                    <a:pt x="85" y="312"/>
                  </a:lnTo>
                  <a:lnTo>
                    <a:pt x="91" y="312"/>
                  </a:lnTo>
                  <a:lnTo>
                    <a:pt x="91" y="318"/>
                  </a:lnTo>
                  <a:lnTo>
                    <a:pt x="96" y="318"/>
                  </a:lnTo>
                  <a:lnTo>
                    <a:pt x="102" y="329"/>
                  </a:lnTo>
                  <a:lnTo>
                    <a:pt x="108" y="335"/>
                  </a:lnTo>
                  <a:lnTo>
                    <a:pt x="113" y="335"/>
                  </a:lnTo>
                  <a:lnTo>
                    <a:pt x="119" y="335"/>
                  </a:lnTo>
                  <a:lnTo>
                    <a:pt x="125" y="335"/>
                  </a:lnTo>
                  <a:lnTo>
                    <a:pt x="125" y="329"/>
                  </a:lnTo>
                  <a:lnTo>
                    <a:pt x="130" y="329"/>
                  </a:lnTo>
                  <a:lnTo>
                    <a:pt x="130" y="323"/>
                  </a:lnTo>
                  <a:lnTo>
                    <a:pt x="142" y="318"/>
                  </a:lnTo>
                  <a:lnTo>
                    <a:pt x="147" y="312"/>
                  </a:lnTo>
                  <a:lnTo>
                    <a:pt x="153" y="306"/>
                  </a:lnTo>
                  <a:lnTo>
                    <a:pt x="159" y="306"/>
                  </a:lnTo>
                  <a:lnTo>
                    <a:pt x="159" y="312"/>
                  </a:lnTo>
                  <a:lnTo>
                    <a:pt x="170" y="318"/>
                  </a:lnTo>
                  <a:lnTo>
                    <a:pt x="170" y="312"/>
                  </a:lnTo>
                  <a:lnTo>
                    <a:pt x="170" y="306"/>
                  </a:lnTo>
                  <a:lnTo>
                    <a:pt x="176" y="306"/>
                  </a:lnTo>
                  <a:lnTo>
                    <a:pt x="176" y="301"/>
                  </a:lnTo>
                  <a:lnTo>
                    <a:pt x="176" y="295"/>
                  </a:lnTo>
                  <a:lnTo>
                    <a:pt x="176" y="289"/>
                  </a:lnTo>
                  <a:lnTo>
                    <a:pt x="170" y="284"/>
                  </a:lnTo>
                  <a:lnTo>
                    <a:pt x="170" y="278"/>
                  </a:lnTo>
                  <a:lnTo>
                    <a:pt x="170" y="272"/>
                  </a:lnTo>
                  <a:lnTo>
                    <a:pt x="170" y="267"/>
                  </a:lnTo>
                  <a:lnTo>
                    <a:pt x="176" y="261"/>
                  </a:lnTo>
                  <a:lnTo>
                    <a:pt x="181" y="261"/>
                  </a:lnTo>
                  <a:lnTo>
                    <a:pt x="181" y="255"/>
                  </a:lnTo>
                  <a:lnTo>
                    <a:pt x="187" y="250"/>
                  </a:lnTo>
                  <a:lnTo>
                    <a:pt x="193" y="244"/>
                  </a:lnTo>
                  <a:lnTo>
                    <a:pt x="198" y="244"/>
                  </a:lnTo>
                  <a:lnTo>
                    <a:pt x="198" y="238"/>
                  </a:lnTo>
                  <a:lnTo>
                    <a:pt x="204" y="238"/>
                  </a:lnTo>
                  <a:lnTo>
                    <a:pt x="204" y="233"/>
                  </a:lnTo>
                  <a:lnTo>
                    <a:pt x="210" y="233"/>
                  </a:lnTo>
                  <a:lnTo>
                    <a:pt x="210" y="227"/>
                  </a:lnTo>
                  <a:lnTo>
                    <a:pt x="210" y="221"/>
                  </a:lnTo>
                  <a:lnTo>
                    <a:pt x="215" y="221"/>
                  </a:lnTo>
                  <a:lnTo>
                    <a:pt x="215" y="216"/>
                  </a:lnTo>
                  <a:lnTo>
                    <a:pt x="221" y="210"/>
                  </a:lnTo>
                  <a:lnTo>
                    <a:pt x="227" y="210"/>
                  </a:lnTo>
                  <a:lnTo>
                    <a:pt x="232" y="210"/>
                  </a:lnTo>
                  <a:lnTo>
                    <a:pt x="238" y="210"/>
                  </a:lnTo>
                  <a:lnTo>
                    <a:pt x="244" y="210"/>
                  </a:lnTo>
                  <a:lnTo>
                    <a:pt x="249" y="210"/>
                  </a:lnTo>
                  <a:lnTo>
                    <a:pt x="255" y="204"/>
                  </a:lnTo>
                  <a:lnTo>
                    <a:pt x="255" y="199"/>
                  </a:lnTo>
                  <a:lnTo>
                    <a:pt x="255" y="193"/>
                  </a:lnTo>
                  <a:lnTo>
                    <a:pt x="249" y="193"/>
                  </a:lnTo>
                  <a:lnTo>
                    <a:pt x="249" y="187"/>
                  </a:lnTo>
                  <a:lnTo>
                    <a:pt x="244" y="187"/>
                  </a:lnTo>
                  <a:lnTo>
                    <a:pt x="244" y="182"/>
                  </a:lnTo>
                  <a:lnTo>
                    <a:pt x="238" y="182"/>
                  </a:lnTo>
                  <a:lnTo>
                    <a:pt x="238" y="176"/>
                  </a:lnTo>
                  <a:lnTo>
                    <a:pt x="238" y="170"/>
                  </a:lnTo>
                  <a:lnTo>
                    <a:pt x="238" y="165"/>
                  </a:lnTo>
                  <a:lnTo>
                    <a:pt x="232" y="165"/>
                  </a:lnTo>
                  <a:lnTo>
                    <a:pt x="232" y="159"/>
                  </a:lnTo>
                  <a:lnTo>
                    <a:pt x="227" y="159"/>
                  </a:lnTo>
                  <a:lnTo>
                    <a:pt x="227" y="153"/>
                  </a:lnTo>
                  <a:lnTo>
                    <a:pt x="227" y="148"/>
                  </a:lnTo>
                  <a:lnTo>
                    <a:pt x="227" y="142"/>
                  </a:lnTo>
                  <a:lnTo>
                    <a:pt x="221" y="136"/>
                  </a:lnTo>
                  <a:lnTo>
                    <a:pt x="215" y="131"/>
                  </a:lnTo>
                  <a:lnTo>
                    <a:pt x="215" y="125"/>
                  </a:lnTo>
                  <a:lnTo>
                    <a:pt x="198" y="114"/>
                  </a:lnTo>
                  <a:lnTo>
                    <a:pt x="198" y="108"/>
                  </a:lnTo>
                  <a:lnTo>
                    <a:pt x="193" y="102"/>
                  </a:lnTo>
                  <a:lnTo>
                    <a:pt x="187" y="97"/>
                  </a:lnTo>
                  <a:lnTo>
                    <a:pt x="193" y="97"/>
                  </a:lnTo>
                  <a:lnTo>
                    <a:pt x="198" y="97"/>
                  </a:lnTo>
                  <a:lnTo>
                    <a:pt x="198" y="91"/>
                  </a:lnTo>
                  <a:lnTo>
                    <a:pt x="210" y="85"/>
                  </a:lnTo>
                  <a:lnTo>
                    <a:pt x="210" y="80"/>
                  </a:lnTo>
                  <a:lnTo>
                    <a:pt x="215" y="80"/>
                  </a:lnTo>
                  <a:lnTo>
                    <a:pt x="221" y="68"/>
                  </a:lnTo>
                  <a:lnTo>
                    <a:pt x="227" y="68"/>
                  </a:lnTo>
                  <a:lnTo>
                    <a:pt x="232" y="68"/>
                  </a:lnTo>
                  <a:lnTo>
                    <a:pt x="244" y="63"/>
                  </a:lnTo>
                  <a:lnTo>
                    <a:pt x="255" y="63"/>
                  </a:lnTo>
                  <a:lnTo>
                    <a:pt x="266" y="63"/>
                  </a:lnTo>
                  <a:lnTo>
                    <a:pt x="272" y="63"/>
                  </a:lnTo>
                  <a:lnTo>
                    <a:pt x="272" y="68"/>
                  </a:lnTo>
                  <a:lnTo>
                    <a:pt x="283" y="68"/>
                  </a:lnTo>
                  <a:lnTo>
                    <a:pt x="289" y="63"/>
                  </a:lnTo>
                  <a:lnTo>
                    <a:pt x="295" y="57"/>
                  </a:lnTo>
                  <a:lnTo>
                    <a:pt x="300" y="57"/>
                  </a:lnTo>
                  <a:lnTo>
                    <a:pt x="300" y="51"/>
                  </a:lnTo>
                  <a:lnTo>
                    <a:pt x="300" y="46"/>
                  </a:lnTo>
                  <a:lnTo>
                    <a:pt x="300" y="40"/>
                  </a:lnTo>
                  <a:lnTo>
                    <a:pt x="300" y="34"/>
                  </a:lnTo>
                  <a:lnTo>
                    <a:pt x="295" y="29"/>
                  </a:lnTo>
                  <a:lnTo>
                    <a:pt x="289" y="29"/>
                  </a:lnTo>
                  <a:lnTo>
                    <a:pt x="283" y="29"/>
                  </a:lnTo>
                  <a:lnTo>
                    <a:pt x="272" y="29"/>
                  </a:lnTo>
                  <a:lnTo>
                    <a:pt x="272" y="23"/>
                  </a:lnTo>
                  <a:lnTo>
                    <a:pt x="278" y="17"/>
                  </a:lnTo>
                  <a:lnTo>
                    <a:pt x="283" y="17"/>
                  </a:lnTo>
                  <a:lnTo>
                    <a:pt x="283" y="12"/>
                  </a:lnTo>
                  <a:lnTo>
                    <a:pt x="289" y="12"/>
                  </a:lnTo>
                  <a:lnTo>
                    <a:pt x="295" y="6"/>
                  </a:lnTo>
                  <a:lnTo>
                    <a:pt x="295" y="0"/>
                  </a:lnTo>
                  <a:lnTo>
                    <a:pt x="300" y="0"/>
                  </a:lnTo>
                  <a:lnTo>
                    <a:pt x="306" y="0"/>
                  </a:lnTo>
                  <a:lnTo>
                    <a:pt x="312" y="6"/>
                  </a:lnTo>
                  <a:lnTo>
                    <a:pt x="317" y="6"/>
                  </a:lnTo>
                  <a:lnTo>
                    <a:pt x="329" y="6"/>
                  </a:lnTo>
                  <a:lnTo>
                    <a:pt x="334" y="6"/>
                  </a:lnTo>
                  <a:lnTo>
                    <a:pt x="346" y="12"/>
                  </a:lnTo>
                  <a:lnTo>
                    <a:pt x="351" y="12"/>
                  </a:lnTo>
                  <a:lnTo>
                    <a:pt x="357" y="12"/>
                  </a:lnTo>
                  <a:lnTo>
                    <a:pt x="363" y="12"/>
                  </a:lnTo>
                  <a:lnTo>
                    <a:pt x="374" y="17"/>
                  </a:lnTo>
                  <a:lnTo>
                    <a:pt x="380" y="17"/>
                  </a:lnTo>
                  <a:lnTo>
                    <a:pt x="391" y="23"/>
                  </a:lnTo>
                  <a:lnTo>
                    <a:pt x="397" y="23"/>
                  </a:lnTo>
                  <a:lnTo>
                    <a:pt x="408" y="23"/>
                  </a:lnTo>
                  <a:lnTo>
                    <a:pt x="414" y="23"/>
                  </a:lnTo>
                  <a:lnTo>
                    <a:pt x="419" y="29"/>
                  </a:lnTo>
                  <a:lnTo>
                    <a:pt x="425" y="29"/>
                  </a:lnTo>
                  <a:lnTo>
                    <a:pt x="431" y="29"/>
                  </a:lnTo>
                  <a:lnTo>
                    <a:pt x="431" y="34"/>
                  </a:lnTo>
                  <a:lnTo>
                    <a:pt x="425" y="40"/>
                  </a:lnTo>
                  <a:lnTo>
                    <a:pt x="425" y="46"/>
                  </a:lnTo>
                  <a:lnTo>
                    <a:pt x="425" y="51"/>
                  </a:lnTo>
                  <a:lnTo>
                    <a:pt x="425" y="57"/>
                  </a:lnTo>
                  <a:lnTo>
                    <a:pt x="425" y="68"/>
                  </a:lnTo>
                  <a:lnTo>
                    <a:pt x="431" y="68"/>
                  </a:lnTo>
                  <a:lnTo>
                    <a:pt x="436" y="80"/>
                  </a:lnTo>
                  <a:lnTo>
                    <a:pt x="442" y="80"/>
                  </a:lnTo>
                  <a:lnTo>
                    <a:pt x="448" y="80"/>
                  </a:lnTo>
                  <a:lnTo>
                    <a:pt x="448" y="85"/>
                  </a:lnTo>
                  <a:lnTo>
                    <a:pt x="453" y="85"/>
                  </a:lnTo>
                  <a:lnTo>
                    <a:pt x="453" y="91"/>
                  </a:lnTo>
                  <a:lnTo>
                    <a:pt x="459" y="91"/>
                  </a:lnTo>
                  <a:lnTo>
                    <a:pt x="465" y="91"/>
                  </a:lnTo>
                  <a:lnTo>
                    <a:pt x="470" y="85"/>
                  </a:lnTo>
                  <a:lnTo>
                    <a:pt x="476" y="85"/>
                  </a:lnTo>
                  <a:lnTo>
                    <a:pt x="476" y="80"/>
                  </a:lnTo>
                  <a:lnTo>
                    <a:pt x="482" y="80"/>
                  </a:lnTo>
                  <a:lnTo>
                    <a:pt x="487" y="80"/>
                  </a:lnTo>
                  <a:lnTo>
                    <a:pt x="493" y="74"/>
                  </a:lnTo>
                  <a:lnTo>
                    <a:pt x="504" y="74"/>
                  </a:lnTo>
                  <a:lnTo>
                    <a:pt x="510" y="74"/>
                  </a:lnTo>
                  <a:lnTo>
                    <a:pt x="521" y="74"/>
                  </a:lnTo>
                  <a:lnTo>
                    <a:pt x="527" y="74"/>
                  </a:lnTo>
                  <a:lnTo>
                    <a:pt x="533" y="74"/>
                  </a:lnTo>
                  <a:lnTo>
                    <a:pt x="538" y="74"/>
                  </a:lnTo>
                  <a:lnTo>
                    <a:pt x="544" y="80"/>
                  </a:lnTo>
                  <a:lnTo>
                    <a:pt x="550" y="80"/>
                  </a:lnTo>
                  <a:lnTo>
                    <a:pt x="550" y="85"/>
                  </a:lnTo>
                  <a:lnTo>
                    <a:pt x="550" y="91"/>
                  </a:lnTo>
                  <a:lnTo>
                    <a:pt x="550" y="97"/>
                  </a:lnTo>
                  <a:lnTo>
                    <a:pt x="555" y="97"/>
                  </a:lnTo>
                  <a:lnTo>
                    <a:pt x="555" y="102"/>
                  </a:lnTo>
                  <a:lnTo>
                    <a:pt x="561" y="108"/>
                  </a:lnTo>
                  <a:lnTo>
                    <a:pt x="561" y="114"/>
                  </a:lnTo>
                  <a:lnTo>
                    <a:pt x="567" y="114"/>
                  </a:lnTo>
                  <a:lnTo>
                    <a:pt x="572" y="119"/>
                  </a:lnTo>
                  <a:lnTo>
                    <a:pt x="572" y="125"/>
                  </a:lnTo>
                  <a:lnTo>
                    <a:pt x="584" y="125"/>
                  </a:lnTo>
                  <a:lnTo>
                    <a:pt x="589" y="131"/>
                  </a:lnTo>
                  <a:lnTo>
                    <a:pt x="589" y="136"/>
                  </a:lnTo>
                  <a:lnTo>
                    <a:pt x="595" y="136"/>
                  </a:lnTo>
                  <a:lnTo>
                    <a:pt x="595" y="142"/>
                  </a:lnTo>
                  <a:lnTo>
                    <a:pt x="595" y="159"/>
                  </a:lnTo>
                  <a:lnTo>
                    <a:pt x="584" y="153"/>
                  </a:lnTo>
                  <a:lnTo>
                    <a:pt x="584" y="159"/>
                  </a:lnTo>
                  <a:lnTo>
                    <a:pt x="584" y="165"/>
                  </a:lnTo>
                  <a:lnTo>
                    <a:pt x="578" y="165"/>
                  </a:lnTo>
                  <a:lnTo>
                    <a:pt x="584" y="170"/>
                  </a:lnTo>
                  <a:lnTo>
                    <a:pt x="578" y="170"/>
                  </a:lnTo>
                  <a:lnTo>
                    <a:pt x="578" y="176"/>
                  </a:lnTo>
                  <a:lnTo>
                    <a:pt x="578" y="182"/>
                  </a:lnTo>
                  <a:lnTo>
                    <a:pt x="578" y="187"/>
                  </a:lnTo>
                  <a:lnTo>
                    <a:pt x="572" y="204"/>
                  </a:lnTo>
                  <a:lnTo>
                    <a:pt x="567" y="204"/>
                  </a:lnTo>
                  <a:lnTo>
                    <a:pt x="555" y="199"/>
                  </a:lnTo>
                  <a:lnTo>
                    <a:pt x="555" y="193"/>
                  </a:lnTo>
                  <a:lnTo>
                    <a:pt x="550" y="193"/>
                  </a:lnTo>
                  <a:lnTo>
                    <a:pt x="544" y="193"/>
                  </a:lnTo>
                  <a:lnTo>
                    <a:pt x="538" y="193"/>
                  </a:lnTo>
                  <a:lnTo>
                    <a:pt x="538" y="199"/>
                  </a:lnTo>
                  <a:lnTo>
                    <a:pt x="538" y="204"/>
                  </a:lnTo>
                  <a:lnTo>
                    <a:pt x="538" y="210"/>
                  </a:lnTo>
                  <a:lnTo>
                    <a:pt x="538" y="216"/>
                  </a:lnTo>
                  <a:lnTo>
                    <a:pt x="533" y="216"/>
                  </a:lnTo>
                  <a:lnTo>
                    <a:pt x="527" y="221"/>
                  </a:lnTo>
                  <a:lnTo>
                    <a:pt x="521" y="233"/>
                  </a:lnTo>
                  <a:lnTo>
                    <a:pt x="521" y="238"/>
                  </a:lnTo>
                  <a:lnTo>
                    <a:pt x="510" y="250"/>
                  </a:lnTo>
                  <a:lnTo>
                    <a:pt x="504" y="250"/>
                  </a:lnTo>
                  <a:lnTo>
                    <a:pt x="499" y="255"/>
                  </a:lnTo>
                  <a:lnTo>
                    <a:pt x="493" y="255"/>
                  </a:lnTo>
                  <a:lnTo>
                    <a:pt x="482" y="261"/>
                  </a:lnTo>
                  <a:lnTo>
                    <a:pt x="482" y="267"/>
                  </a:lnTo>
                  <a:lnTo>
                    <a:pt x="476" y="267"/>
                  </a:lnTo>
                  <a:lnTo>
                    <a:pt x="476" y="278"/>
                  </a:lnTo>
                  <a:lnTo>
                    <a:pt x="470" y="284"/>
                  </a:lnTo>
                  <a:lnTo>
                    <a:pt x="465" y="289"/>
                  </a:lnTo>
                  <a:lnTo>
                    <a:pt x="453" y="301"/>
                  </a:lnTo>
                  <a:lnTo>
                    <a:pt x="442" y="306"/>
                  </a:lnTo>
                  <a:lnTo>
                    <a:pt x="442" y="312"/>
                  </a:lnTo>
                  <a:lnTo>
                    <a:pt x="431" y="318"/>
                  </a:lnTo>
                  <a:lnTo>
                    <a:pt x="419" y="329"/>
                  </a:lnTo>
                  <a:lnTo>
                    <a:pt x="414" y="335"/>
                  </a:lnTo>
                  <a:lnTo>
                    <a:pt x="408" y="335"/>
                  </a:lnTo>
                  <a:lnTo>
                    <a:pt x="408" y="340"/>
                  </a:lnTo>
                  <a:lnTo>
                    <a:pt x="391" y="352"/>
                  </a:lnTo>
                  <a:lnTo>
                    <a:pt x="385" y="352"/>
                  </a:lnTo>
                  <a:lnTo>
                    <a:pt x="385" y="357"/>
                  </a:lnTo>
                  <a:lnTo>
                    <a:pt x="380" y="363"/>
                  </a:lnTo>
                  <a:lnTo>
                    <a:pt x="368" y="369"/>
                  </a:lnTo>
                  <a:lnTo>
                    <a:pt x="363" y="374"/>
                  </a:lnTo>
                  <a:lnTo>
                    <a:pt x="363" y="380"/>
                  </a:lnTo>
                  <a:lnTo>
                    <a:pt x="363" y="386"/>
                  </a:lnTo>
                  <a:lnTo>
                    <a:pt x="368" y="386"/>
                  </a:lnTo>
                  <a:lnTo>
                    <a:pt x="368" y="391"/>
                  </a:lnTo>
                  <a:lnTo>
                    <a:pt x="363" y="397"/>
                  </a:lnTo>
                  <a:lnTo>
                    <a:pt x="368" y="403"/>
                  </a:lnTo>
                  <a:lnTo>
                    <a:pt x="363" y="408"/>
                  </a:lnTo>
                  <a:lnTo>
                    <a:pt x="357" y="420"/>
                  </a:lnTo>
                  <a:lnTo>
                    <a:pt x="351" y="414"/>
                  </a:lnTo>
                  <a:lnTo>
                    <a:pt x="351" y="420"/>
                  </a:lnTo>
                  <a:lnTo>
                    <a:pt x="351" y="425"/>
                  </a:lnTo>
                  <a:lnTo>
                    <a:pt x="357" y="431"/>
                  </a:lnTo>
                  <a:lnTo>
                    <a:pt x="363" y="437"/>
                  </a:lnTo>
                  <a:lnTo>
                    <a:pt x="368" y="442"/>
                  </a:lnTo>
                  <a:lnTo>
                    <a:pt x="374" y="448"/>
                  </a:lnTo>
                  <a:lnTo>
                    <a:pt x="380" y="454"/>
                  </a:lnTo>
                  <a:lnTo>
                    <a:pt x="385" y="459"/>
                  </a:lnTo>
                  <a:lnTo>
                    <a:pt x="385" y="465"/>
                  </a:lnTo>
                  <a:lnTo>
                    <a:pt x="385" y="471"/>
                  </a:lnTo>
                  <a:lnTo>
                    <a:pt x="380" y="471"/>
                  </a:lnTo>
                  <a:lnTo>
                    <a:pt x="380" y="476"/>
                  </a:lnTo>
                  <a:lnTo>
                    <a:pt x="374" y="488"/>
                  </a:lnTo>
                  <a:lnTo>
                    <a:pt x="368" y="488"/>
                  </a:lnTo>
                  <a:lnTo>
                    <a:pt x="368" y="493"/>
                  </a:lnTo>
                  <a:lnTo>
                    <a:pt x="368" y="499"/>
                  </a:lnTo>
                  <a:lnTo>
                    <a:pt x="368" y="505"/>
                  </a:lnTo>
                  <a:lnTo>
                    <a:pt x="363" y="510"/>
                  </a:lnTo>
                  <a:lnTo>
                    <a:pt x="357" y="516"/>
                  </a:lnTo>
                  <a:lnTo>
                    <a:pt x="363" y="522"/>
                  </a:lnTo>
                  <a:lnTo>
                    <a:pt x="363" y="527"/>
                  </a:lnTo>
                  <a:lnTo>
                    <a:pt x="363" y="533"/>
                  </a:lnTo>
                  <a:lnTo>
                    <a:pt x="357" y="539"/>
                  </a:lnTo>
                  <a:lnTo>
                    <a:pt x="357" y="550"/>
                  </a:lnTo>
                  <a:lnTo>
                    <a:pt x="351" y="556"/>
                  </a:lnTo>
                  <a:lnTo>
                    <a:pt x="351" y="567"/>
                  </a:lnTo>
                  <a:lnTo>
                    <a:pt x="351" y="578"/>
                  </a:lnTo>
                  <a:lnTo>
                    <a:pt x="351" y="584"/>
                  </a:lnTo>
                  <a:lnTo>
                    <a:pt x="351" y="590"/>
                  </a:lnTo>
                  <a:lnTo>
                    <a:pt x="351" y="595"/>
                  </a:lnTo>
                  <a:lnTo>
                    <a:pt x="351" y="601"/>
                  </a:lnTo>
                  <a:lnTo>
                    <a:pt x="351" y="607"/>
                  </a:lnTo>
                  <a:lnTo>
                    <a:pt x="346" y="613"/>
                  </a:lnTo>
                  <a:lnTo>
                    <a:pt x="346" y="618"/>
                  </a:lnTo>
                  <a:lnTo>
                    <a:pt x="340" y="624"/>
                  </a:lnTo>
                  <a:lnTo>
                    <a:pt x="340" y="630"/>
                  </a:lnTo>
                  <a:lnTo>
                    <a:pt x="334" y="630"/>
                  </a:lnTo>
                  <a:lnTo>
                    <a:pt x="329" y="635"/>
                  </a:lnTo>
                  <a:lnTo>
                    <a:pt x="329" y="641"/>
                  </a:lnTo>
                  <a:lnTo>
                    <a:pt x="323" y="641"/>
                  </a:lnTo>
                  <a:lnTo>
                    <a:pt x="317" y="647"/>
                  </a:lnTo>
                  <a:lnTo>
                    <a:pt x="317" y="652"/>
                  </a:lnTo>
                  <a:lnTo>
                    <a:pt x="312" y="658"/>
                  </a:lnTo>
                  <a:lnTo>
                    <a:pt x="317" y="658"/>
                  </a:lnTo>
                  <a:lnTo>
                    <a:pt x="312" y="658"/>
                  </a:lnTo>
                  <a:lnTo>
                    <a:pt x="312" y="664"/>
                  </a:lnTo>
                  <a:lnTo>
                    <a:pt x="306" y="669"/>
                  </a:lnTo>
                  <a:lnTo>
                    <a:pt x="306" y="675"/>
                  </a:lnTo>
                  <a:lnTo>
                    <a:pt x="312" y="675"/>
                  </a:lnTo>
                  <a:lnTo>
                    <a:pt x="306" y="675"/>
                  </a:lnTo>
                  <a:lnTo>
                    <a:pt x="306" y="681"/>
                  </a:lnTo>
                  <a:lnTo>
                    <a:pt x="300" y="686"/>
                  </a:lnTo>
                  <a:lnTo>
                    <a:pt x="295" y="692"/>
                  </a:lnTo>
                  <a:lnTo>
                    <a:pt x="295" y="698"/>
                  </a:lnTo>
                  <a:lnTo>
                    <a:pt x="295" y="703"/>
                  </a:lnTo>
                  <a:lnTo>
                    <a:pt x="283" y="703"/>
                  </a:lnTo>
                  <a:lnTo>
                    <a:pt x="278" y="709"/>
                  </a:lnTo>
                  <a:lnTo>
                    <a:pt x="278" y="715"/>
                  </a:lnTo>
                  <a:lnTo>
                    <a:pt x="278" y="720"/>
                  </a:lnTo>
                  <a:lnTo>
                    <a:pt x="283" y="726"/>
                  </a:lnTo>
                  <a:lnTo>
                    <a:pt x="283" y="732"/>
                  </a:lnTo>
                  <a:lnTo>
                    <a:pt x="278" y="737"/>
                  </a:lnTo>
                  <a:lnTo>
                    <a:pt x="272" y="743"/>
                  </a:lnTo>
                  <a:lnTo>
                    <a:pt x="266" y="743"/>
                  </a:lnTo>
                  <a:lnTo>
                    <a:pt x="266" y="737"/>
                  </a:lnTo>
                  <a:lnTo>
                    <a:pt x="261" y="737"/>
                  </a:lnTo>
                  <a:lnTo>
                    <a:pt x="255" y="743"/>
                  </a:lnTo>
                  <a:lnTo>
                    <a:pt x="249" y="754"/>
                  </a:lnTo>
                  <a:lnTo>
                    <a:pt x="249" y="760"/>
                  </a:lnTo>
                  <a:lnTo>
                    <a:pt x="249" y="771"/>
                  </a:lnTo>
                  <a:lnTo>
                    <a:pt x="249" y="777"/>
                  </a:lnTo>
                  <a:lnTo>
                    <a:pt x="244" y="777"/>
                  </a:lnTo>
                  <a:lnTo>
                    <a:pt x="244" y="783"/>
                  </a:lnTo>
                  <a:lnTo>
                    <a:pt x="238" y="783"/>
                  </a:lnTo>
                  <a:lnTo>
                    <a:pt x="232" y="783"/>
                  </a:lnTo>
                  <a:lnTo>
                    <a:pt x="232" y="777"/>
                  </a:lnTo>
                  <a:lnTo>
                    <a:pt x="227" y="777"/>
                  </a:lnTo>
                  <a:lnTo>
                    <a:pt x="227" y="771"/>
                  </a:lnTo>
                  <a:lnTo>
                    <a:pt x="227" y="766"/>
                  </a:lnTo>
                  <a:lnTo>
                    <a:pt x="232" y="771"/>
                  </a:lnTo>
                  <a:lnTo>
                    <a:pt x="232" y="766"/>
                  </a:lnTo>
                  <a:lnTo>
                    <a:pt x="227" y="760"/>
                  </a:lnTo>
                  <a:lnTo>
                    <a:pt x="221" y="766"/>
                  </a:lnTo>
                  <a:lnTo>
                    <a:pt x="215" y="766"/>
                  </a:lnTo>
                  <a:lnTo>
                    <a:pt x="215" y="771"/>
                  </a:lnTo>
                  <a:lnTo>
                    <a:pt x="210" y="771"/>
                  </a:lnTo>
                  <a:lnTo>
                    <a:pt x="210" y="766"/>
                  </a:lnTo>
                  <a:lnTo>
                    <a:pt x="204" y="766"/>
                  </a:lnTo>
                  <a:lnTo>
                    <a:pt x="198" y="760"/>
                  </a:lnTo>
                  <a:lnTo>
                    <a:pt x="204" y="754"/>
                  </a:lnTo>
                  <a:lnTo>
                    <a:pt x="204" y="749"/>
                  </a:lnTo>
                  <a:lnTo>
                    <a:pt x="198" y="749"/>
                  </a:lnTo>
                  <a:lnTo>
                    <a:pt x="193" y="749"/>
                  </a:lnTo>
                  <a:lnTo>
                    <a:pt x="187" y="743"/>
                  </a:lnTo>
                  <a:lnTo>
                    <a:pt x="181" y="737"/>
                  </a:lnTo>
                  <a:lnTo>
                    <a:pt x="181" y="732"/>
                  </a:lnTo>
                  <a:lnTo>
                    <a:pt x="176" y="732"/>
                  </a:lnTo>
                  <a:lnTo>
                    <a:pt x="170" y="726"/>
                  </a:lnTo>
                  <a:lnTo>
                    <a:pt x="164" y="72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2" name="Freeform 21"/>
            <p:cNvSpPr>
              <a:spLocks/>
            </p:cNvSpPr>
            <p:nvPr/>
          </p:nvSpPr>
          <p:spPr bwMode="gray">
            <a:xfrm>
              <a:off x="1326898" y="4160765"/>
              <a:ext cx="883189" cy="711014"/>
            </a:xfrm>
            <a:custGeom>
              <a:avLst/>
              <a:gdLst>
                <a:gd name="T0" fmla="*/ 2147483647 w 629"/>
                <a:gd name="T1" fmla="*/ 2147483647 h 533"/>
                <a:gd name="T2" fmla="*/ 2147483647 w 629"/>
                <a:gd name="T3" fmla="*/ 2147483647 h 533"/>
                <a:gd name="T4" fmla="*/ 2147483647 w 629"/>
                <a:gd name="T5" fmla="*/ 2147483647 h 533"/>
                <a:gd name="T6" fmla="*/ 2147483647 w 629"/>
                <a:gd name="T7" fmla="*/ 2147483647 h 533"/>
                <a:gd name="T8" fmla="*/ 2147483647 w 629"/>
                <a:gd name="T9" fmla="*/ 2147483647 h 533"/>
                <a:gd name="T10" fmla="*/ 2147483647 w 629"/>
                <a:gd name="T11" fmla="*/ 2147483647 h 533"/>
                <a:gd name="T12" fmla="*/ 2147483647 w 629"/>
                <a:gd name="T13" fmla="*/ 2147483647 h 533"/>
                <a:gd name="T14" fmla="*/ 2147483647 w 629"/>
                <a:gd name="T15" fmla="*/ 2147483647 h 533"/>
                <a:gd name="T16" fmla="*/ 2147483647 w 629"/>
                <a:gd name="T17" fmla="*/ 2147483647 h 533"/>
                <a:gd name="T18" fmla="*/ 2147483647 w 629"/>
                <a:gd name="T19" fmla="*/ 2147483647 h 533"/>
                <a:gd name="T20" fmla="*/ 2147483647 w 629"/>
                <a:gd name="T21" fmla="*/ 2147483647 h 533"/>
                <a:gd name="T22" fmla="*/ 2147483647 w 629"/>
                <a:gd name="T23" fmla="*/ 2147483647 h 533"/>
                <a:gd name="T24" fmla="*/ 2147483647 w 629"/>
                <a:gd name="T25" fmla="*/ 2147483647 h 533"/>
                <a:gd name="T26" fmla="*/ 2147483647 w 629"/>
                <a:gd name="T27" fmla="*/ 2147483647 h 533"/>
                <a:gd name="T28" fmla="*/ 2147483647 w 629"/>
                <a:gd name="T29" fmla="*/ 2147483647 h 533"/>
                <a:gd name="T30" fmla="*/ 2147483647 w 629"/>
                <a:gd name="T31" fmla="*/ 2147483647 h 533"/>
                <a:gd name="T32" fmla="*/ 2147483647 w 629"/>
                <a:gd name="T33" fmla="*/ 2147483647 h 533"/>
                <a:gd name="T34" fmla="*/ 2147483647 w 629"/>
                <a:gd name="T35" fmla="*/ 2147483647 h 533"/>
                <a:gd name="T36" fmla="*/ 2147483647 w 629"/>
                <a:gd name="T37" fmla="*/ 2147483647 h 533"/>
                <a:gd name="T38" fmla="*/ 2147483647 w 629"/>
                <a:gd name="T39" fmla="*/ 2147483647 h 533"/>
                <a:gd name="T40" fmla="*/ 2147483647 w 629"/>
                <a:gd name="T41" fmla="*/ 2147483647 h 533"/>
                <a:gd name="T42" fmla="*/ 2147483647 w 629"/>
                <a:gd name="T43" fmla="*/ 2147483647 h 533"/>
                <a:gd name="T44" fmla="*/ 2147483647 w 629"/>
                <a:gd name="T45" fmla="*/ 2147483647 h 533"/>
                <a:gd name="T46" fmla="*/ 2147483647 w 629"/>
                <a:gd name="T47" fmla="*/ 2147483647 h 533"/>
                <a:gd name="T48" fmla="*/ 2147483647 w 629"/>
                <a:gd name="T49" fmla="*/ 2147483647 h 533"/>
                <a:gd name="T50" fmla="*/ 2147483647 w 629"/>
                <a:gd name="T51" fmla="*/ 2147483647 h 533"/>
                <a:gd name="T52" fmla="*/ 2147483647 w 629"/>
                <a:gd name="T53" fmla="*/ 2147483647 h 533"/>
                <a:gd name="T54" fmla="*/ 2147483647 w 629"/>
                <a:gd name="T55" fmla="*/ 2147483647 h 533"/>
                <a:gd name="T56" fmla="*/ 2147483647 w 629"/>
                <a:gd name="T57" fmla="*/ 2147483647 h 533"/>
                <a:gd name="T58" fmla="*/ 2147483647 w 629"/>
                <a:gd name="T59" fmla="*/ 2147483647 h 533"/>
                <a:gd name="T60" fmla="*/ 2147483647 w 629"/>
                <a:gd name="T61" fmla="*/ 2147483647 h 533"/>
                <a:gd name="T62" fmla="*/ 2147483647 w 629"/>
                <a:gd name="T63" fmla="*/ 2147483647 h 533"/>
                <a:gd name="T64" fmla="*/ 2147483647 w 629"/>
                <a:gd name="T65" fmla="*/ 2147483647 h 533"/>
                <a:gd name="T66" fmla="*/ 2147483647 w 629"/>
                <a:gd name="T67" fmla="*/ 2147483647 h 533"/>
                <a:gd name="T68" fmla="*/ 2147483647 w 629"/>
                <a:gd name="T69" fmla="*/ 2147483647 h 533"/>
                <a:gd name="T70" fmla="*/ 2147483647 w 629"/>
                <a:gd name="T71" fmla="*/ 2147483647 h 533"/>
                <a:gd name="T72" fmla="*/ 2147483647 w 629"/>
                <a:gd name="T73" fmla="*/ 2147483647 h 533"/>
                <a:gd name="T74" fmla="*/ 2147483647 w 629"/>
                <a:gd name="T75" fmla="*/ 2147483647 h 533"/>
                <a:gd name="T76" fmla="*/ 2147483647 w 629"/>
                <a:gd name="T77" fmla="*/ 2147483647 h 533"/>
                <a:gd name="T78" fmla="*/ 2147483647 w 629"/>
                <a:gd name="T79" fmla="*/ 2147483647 h 533"/>
                <a:gd name="T80" fmla="*/ 2147483647 w 629"/>
                <a:gd name="T81" fmla="*/ 2147483647 h 533"/>
                <a:gd name="T82" fmla="*/ 2147483647 w 629"/>
                <a:gd name="T83" fmla="*/ 2147483647 h 533"/>
                <a:gd name="T84" fmla="*/ 2147483647 w 629"/>
                <a:gd name="T85" fmla="*/ 2147483647 h 533"/>
                <a:gd name="T86" fmla="*/ 2147483647 w 629"/>
                <a:gd name="T87" fmla="*/ 2147483647 h 533"/>
                <a:gd name="T88" fmla="*/ 2147483647 w 629"/>
                <a:gd name="T89" fmla="*/ 2147483647 h 533"/>
                <a:gd name="T90" fmla="*/ 2147483647 w 629"/>
                <a:gd name="T91" fmla="*/ 2147483647 h 533"/>
                <a:gd name="T92" fmla="*/ 2147483647 w 629"/>
                <a:gd name="T93" fmla="*/ 2147483647 h 533"/>
                <a:gd name="T94" fmla="*/ 2147483647 w 629"/>
                <a:gd name="T95" fmla="*/ 2147483647 h 533"/>
                <a:gd name="T96" fmla="*/ 2147483647 w 629"/>
                <a:gd name="T97" fmla="*/ 2147483647 h 533"/>
                <a:gd name="T98" fmla="*/ 2147483647 w 629"/>
                <a:gd name="T99" fmla="*/ 2147483647 h 533"/>
                <a:gd name="T100" fmla="*/ 2147483647 w 629"/>
                <a:gd name="T101" fmla="*/ 2147483647 h 533"/>
                <a:gd name="T102" fmla="*/ 2147483647 w 629"/>
                <a:gd name="T103" fmla="*/ 2147483647 h 533"/>
                <a:gd name="T104" fmla="*/ 2147483647 w 629"/>
                <a:gd name="T105" fmla="*/ 2147483647 h 533"/>
                <a:gd name="T106" fmla="*/ 2147483647 w 629"/>
                <a:gd name="T107" fmla="*/ 2147483647 h 533"/>
                <a:gd name="T108" fmla="*/ 2147483647 w 629"/>
                <a:gd name="T109" fmla="*/ 2147483647 h 533"/>
                <a:gd name="T110" fmla="*/ 2147483647 w 629"/>
                <a:gd name="T111" fmla="*/ 2147483647 h 533"/>
                <a:gd name="T112" fmla="*/ 2147483647 w 629"/>
                <a:gd name="T113" fmla="*/ 2147483647 h 533"/>
                <a:gd name="T114" fmla="*/ 2147483647 w 629"/>
                <a:gd name="T115" fmla="*/ 2147483647 h 533"/>
                <a:gd name="T116" fmla="*/ 2147483647 w 629"/>
                <a:gd name="T117" fmla="*/ 2147483647 h 533"/>
                <a:gd name="T118" fmla="*/ 2147483647 w 629"/>
                <a:gd name="T119" fmla="*/ 2147483647 h 533"/>
                <a:gd name="T120" fmla="*/ 2147483647 w 629"/>
                <a:gd name="T121" fmla="*/ 2147483647 h 53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29"/>
                <a:gd name="T184" fmla="*/ 0 h 533"/>
                <a:gd name="T185" fmla="*/ 629 w 629"/>
                <a:gd name="T186" fmla="*/ 533 h 53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29" h="533">
                  <a:moveTo>
                    <a:pt x="0" y="221"/>
                  </a:moveTo>
                  <a:lnTo>
                    <a:pt x="0" y="216"/>
                  </a:lnTo>
                  <a:lnTo>
                    <a:pt x="12" y="204"/>
                  </a:lnTo>
                  <a:lnTo>
                    <a:pt x="17" y="199"/>
                  </a:lnTo>
                  <a:lnTo>
                    <a:pt x="17" y="193"/>
                  </a:lnTo>
                  <a:lnTo>
                    <a:pt x="17" y="187"/>
                  </a:lnTo>
                  <a:lnTo>
                    <a:pt x="23" y="182"/>
                  </a:lnTo>
                  <a:lnTo>
                    <a:pt x="29" y="176"/>
                  </a:lnTo>
                  <a:lnTo>
                    <a:pt x="29" y="170"/>
                  </a:lnTo>
                  <a:lnTo>
                    <a:pt x="29" y="165"/>
                  </a:lnTo>
                  <a:lnTo>
                    <a:pt x="34" y="159"/>
                  </a:lnTo>
                  <a:lnTo>
                    <a:pt x="34" y="153"/>
                  </a:lnTo>
                  <a:lnTo>
                    <a:pt x="40" y="153"/>
                  </a:lnTo>
                  <a:lnTo>
                    <a:pt x="40" y="142"/>
                  </a:lnTo>
                  <a:lnTo>
                    <a:pt x="40" y="136"/>
                  </a:lnTo>
                  <a:lnTo>
                    <a:pt x="46" y="136"/>
                  </a:lnTo>
                  <a:lnTo>
                    <a:pt x="46" y="131"/>
                  </a:lnTo>
                  <a:lnTo>
                    <a:pt x="51" y="131"/>
                  </a:lnTo>
                  <a:lnTo>
                    <a:pt x="51" y="125"/>
                  </a:lnTo>
                  <a:lnTo>
                    <a:pt x="57" y="125"/>
                  </a:lnTo>
                  <a:lnTo>
                    <a:pt x="63" y="125"/>
                  </a:lnTo>
                  <a:lnTo>
                    <a:pt x="68" y="131"/>
                  </a:lnTo>
                  <a:lnTo>
                    <a:pt x="74" y="131"/>
                  </a:lnTo>
                  <a:lnTo>
                    <a:pt x="74" y="136"/>
                  </a:lnTo>
                  <a:lnTo>
                    <a:pt x="80" y="136"/>
                  </a:lnTo>
                  <a:lnTo>
                    <a:pt x="80" y="142"/>
                  </a:lnTo>
                  <a:lnTo>
                    <a:pt x="85" y="142"/>
                  </a:lnTo>
                  <a:lnTo>
                    <a:pt x="91" y="148"/>
                  </a:lnTo>
                  <a:lnTo>
                    <a:pt x="91" y="153"/>
                  </a:lnTo>
                  <a:lnTo>
                    <a:pt x="91" y="159"/>
                  </a:lnTo>
                  <a:lnTo>
                    <a:pt x="97" y="159"/>
                  </a:lnTo>
                  <a:lnTo>
                    <a:pt x="102" y="165"/>
                  </a:lnTo>
                  <a:lnTo>
                    <a:pt x="102" y="170"/>
                  </a:lnTo>
                  <a:lnTo>
                    <a:pt x="97" y="170"/>
                  </a:lnTo>
                  <a:lnTo>
                    <a:pt x="97" y="182"/>
                  </a:lnTo>
                  <a:lnTo>
                    <a:pt x="97" y="187"/>
                  </a:lnTo>
                  <a:lnTo>
                    <a:pt x="97" y="193"/>
                  </a:lnTo>
                  <a:lnTo>
                    <a:pt x="97" y="199"/>
                  </a:lnTo>
                  <a:lnTo>
                    <a:pt x="102" y="199"/>
                  </a:lnTo>
                  <a:lnTo>
                    <a:pt x="102" y="204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19" y="210"/>
                  </a:lnTo>
                  <a:lnTo>
                    <a:pt x="119" y="204"/>
                  </a:lnTo>
                  <a:lnTo>
                    <a:pt x="125" y="199"/>
                  </a:lnTo>
                  <a:lnTo>
                    <a:pt x="131" y="199"/>
                  </a:lnTo>
                  <a:lnTo>
                    <a:pt x="136" y="199"/>
                  </a:lnTo>
                  <a:lnTo>
                    <a:pt x="136" y="193"/>
                  </a:lnTo>
                  <a:lnTo>
                    <a:pt x="136" y="187"/>
                  </a:lnTo>
                  <a:lnTo>
                    <a:pt x="136" y="182"/>
                  </a:lnTo>
                  <a:lnTo>
                    <a:pt x="131" y="182"/>
                  </a:lnTo>
                  <a:lnTo>
                    <a:pt x="131" y="176"/>
                  </a:lnTo>
                  <a:lnTo>
                    <a:pt x="131" y="170"/>
                  </a:lnTo>
                  <a:lnTo>
                    <a:pt x="136" y="170"/>
                  </a:lnTo>
                  <a:lnTo>
                    <a:pt x="142" y="170"/>
                  </a:lnTo>
                  <a:lnTo>
                    <a:pt x="148" y="170"/>
                  </a:lnTo>
                  <a:lnTo>
                    <a:pt x="153" y="170"/>
                  </a:lnTo>
                  <a:lnTo>
                    <a:pt x="153" y="176"/>
                  </a:lnTo>
                  <a:lnTo>
                    <a:pt x="159" y="176"/>
                  </a:lnTo>
                  <a:lnTo>
                    <a:pt x="165" y="176"/>
                  </a:lnTo>
                  <a:lnTo>
                    <a:pt x="165" y="170"/>
                  </a:lnTo>
                  <a:lnTo>
                    <a:pt x="170" y="170"/>
                  </a:lnTo>
                  <a:lnTo>
                    <a:pt x="176" y="170"/>
                  </a:lnTo>
                  <a:lnTo>
                    <a:pt x="176" y="176"/>
                  </a:lnTo>
                  <a:lnTo>
                    <a:pt x="182" y="170"/>
                  </a:lnTo>
                  <a:lnTo>
                    <a:pt x="193" y="170"/>
                  </a:lnTo>
                  <a:lnTo>
                    <a:pt x="193" y="176"/>
                  </a:lnTo>
                  <a:lnTo>
                    <a:pt x="199" y="182"/>
                  </a:lnTo>
                  <a:lnTo>
                    <a:pt x="204" y="182"/>
                  </a:lnTo>
                  <a:lnTo>
                    <a:pt x="210" y="182"/>
                  </a:lnTo>
                  <a:lnTo>
                    <a:pt x="216" y="182"/>
                  </a:lnTo>
                  <a:lnTo>
                    <a:pt x="216" y="176"/>
                  </a:lnTo>
                  <a:lnTo>
                    <a:pt x="221" y="176"/>
                  </a:lnTo>
                  <a:lnTo>
                    <a:pt x="221" y="170"/>
                  </a:lnTo>
                  <a:lnTo>
                    <a:pt x="227" y="170"/>
                  </a:lnTo>
                  <a:lnTo>
                    <a:pt x="233" y="170"/>
                  </a:lnTo>
                  <a:lnTo>
                    <a:pt x="238" y="165"/>
                  </a:lnTo>
                  <a:lnTo>
                    <a:pt x="244" y="165"/>
                  </a:lnTo>
                  <a:lnTo>
                    <a:pt x="244" y="159"/>
                  </a:lnTo>
                  <a:lnTo>
                    <a:pt x="250" y="159"/>
                  </a:lnTo>
                  <a:lnTo>
                    <a:pt x="261" y="165"/>
                  </a:lnTo>
                  <a:lnTo>
                    <a:pt x="261" y="170"/>
                  </a:lnTo>
                  <a:lnTo>
                    <a:pt x="267" y="170"/>
                  </a:lnTo>
                  <a:lnTo>
                    <a:pt x="272" y="176"/>
                  </a:lnTo>
                  <a:lnTo>
                    <a:pt x="278" y="176"/>
                  </a:lnTo>
                  <a:lnTo>
                    <a:pt x="278" y="182"/>
                  </a:lnTo>
                  <a:lnTo>
                    <a:pt x="284" y="182"/>
                  </a:lnTo>
                  <a:lnTo>
                    <a:pt x="289" y="182"/>
                  </a:lnTo>
                  <a:lnTo>
                    <a:pt x="295" y="187"/>
                  </a:lnTo>
                  <a:lnTo>
                    <a:pt x="306" y="193"/>
                  </a:lnTo>
                  <a:lnTo>
                    <a:pt x="306" y="199"/>
                  </a:lnTo>
                  <a:lnTo>
                    <a:pt x="312" y="199"/>
                  </a:lnTo>
                  <a:lnTo>
                    <a:pt x="312" y="204"/>
                  </a:lnTo>
                  <a:lnTo>
                    <a:pt x="318" y="210"/>
                  </a:lnTo>
                  <a:lnTo>
                    <a:pt x="323" y="210"/>
                  </a:lnTo>
                  <a:lnTo>
                    <a:pt x="329" y="216"/>
                  </a:lnTo>
                  <a:lnTo>
                    <a:pt x="335" y="221"/>
                  </a:lnTo>
                  <a:lnTo>
                    <a:pt x="340" y="221"/>
                  </a:lnTo>
                  <a:lnTo>
                    <a:pt x="340" y="227"/>
                  </a:lnTo>
                  <a:lnTo>
                    <a:pt x="340" y="233"/>
                  </a:lnTo>
                  <a:lnTo>
                    <a:pt x="335" y="238"/>
                  </a:lnTo>
                  <a:lnTo>
                    <a:pt x="329" y="244"/>
                  </a:lnTo>
                  <a:lnTo>
                    <a:pt x="329" y="250"/>
                  </a:lnTo>
                  <a:lnTo>
                    <a:pt x="329" y="255"/>
                  </a:lnTo>
                  <a:lnTo>
                    <a:pt x="335" y="255"/>
                  </a:lnTo>
                  <a:lnTo>
                    <a:pt x="335" y="267"/>
                  </a:lnTo>
                  <a:lnTo>
                    <a:pt x="340" y="267"/>
                  </a:lnTo>
                  <a:lnTo>
                    <a:pt x="346" y="272"/>
                  </a:lnTo>
                  <a:lnTo>
                    <a:pt x="352" y="272"/>
                  </a:lnTo>
                  <a:lnTo>
                    <a:pt x="357" y="267"/>
                  </a:lnTo>
                  <a:lnTo>
                    <a:pt x="363" y="267"/>
                  </a:lnTo>
                  <a:lnTo>
                    <a:pt x="369" y="267"/>
                  </a:lnTo>
                  <a:lnTo>
                    <a:pt x="374" y="267"/>
                  </a:lnTo>
                  <a:lnTo>
                    <a:pt x="374" y="261"/>
                  </a:lnTo>
                  <a:lnTo>
                    <a:pt x="380" y="261"/>
                  </a:lnTo>
                  <a:lnTo>
                    <a:pt x="386" y="255"/>
                  </a:lnTo>
                  <a:lnTo>
                    <a:pt x="391" y="255"/>
                  </a:lnTo>
                  <a:lnTo>
                    <a:pt x="397" y="255"/>
                  </a:lnTo>
                  <a:lnTo>
                    <a:pt x="397" y="250"/>
                  </a:lnTo>
                  <a:lnTo>
                    <a:pt x="403" y="250"/>
                  </a:lnTo>
                  <a:lnTo>
                    <a:pt x="408" y="244"/>
                  </a:lnTo>
                  <a:lnTo>
                    <a:pt x="408" y="238"/>
                  </a:lnTo>
                  <a:lnTo>
                    <a:pt x="414" y="238"/>
                  </a:lnTo>
                  <a:lnTo>
                    <a:pt x="414" y="233"/>
                  </a:lnTo>
                  <a:lnTo>
                    <a:pt x="420" y="233"/>
                  </a:lnTo>
                  <a:lnTo>
                    <a:pt x="420" y="227"/>
                  </a:lnTo>
                  <a:lnTo>
                    <a:pt x="425" y="227"/>
                  </a:lnTo>
                  <a:lnTo>
                    <a:pt x="431" y="221"/>
                  </a:lnTo>
                  <a:lnTo>
                    <a:pt x="437" y="221"/>
                  </a:lnTo>
                  <a:lnTo>
                    <a:pt x="442" y="216"/>
                  </a:lnTo>
                  <a:lnTo>
                    <a:pt x="442" y="210"/>
                  </a:lnTo>
                  <a:lnTo>
                    <a:pt x="448" y="204"/>
                  </a:lnTo>
                  <a:lnTo>
                    <a:pt x="448" y="199"/>
                  </a:lnTo>
                  <a:lnTo>
                    <a:pt x="454" y="193"/>
                  </a:lnTo>
                  <a:lnTo>
                    <a:pt x="454" y="187"/>
                  </a:lnTo>
                  <a:lnTo>
                    <a:pt x="459" y="182"/>
                  </a:lnTo>
                  <a:lnTo>
                    <a:pt x="459" y="176"/>
                  </a:lnTo>
                  <a:lnTo>
                    <a:pt x="459" y="170"/>
                  </a:lnTo>
                  <a:lnTo>
                    <a:pt x="448" y="170"/>
                  </a:lnTo>
                  <a:lnTo>
                    <a:pt x="448" y="165"/>
                  </a:lnTo>
                  <a:lnTo>
                    <a:pt x="442" y="165"/>
                  </a:lnTo>
                  <a:lnTo>
                    <a:pt x="437" y="159"/>
                  </a:lnTo>
                  <a:lnTo>
                    <a:pt x="437" y="153"/>
                  </a:lnTo>
                  <a:lnTo>
                    <a:pt x="431" y="153"/>
                  </a:lnTo>
                  <a:lnTo>
                    <a:pt x="431" y="148"/>
                  </a:lnTo>
                  <a:lnTo>
                    <a:pt x="425" y="142"/>
                  </a:lnTo>
                  <a:lnTo>
                    <a:pt x="420" y="142"/>
                  </a:lnTo>
                  <a:lnTo>
                    <a:pt x="420" y="136"/>
                  </a:lnTo>
                  <a:lnTo>
                    <a:pt x="420" y="131"/>
                  </a:lnTo>
                  <a:lnTo>
                    <a:pt x="414" y="131"/>
                  </a:lnTo>
                  <a:lnTo>
                    <a:pt x="414" y="125"/>
                  </a:lnTo>
                  <a:lnTo>
                    <a:pt x="414" y="114"/>
                  </a:lnTo>
                  <a:lnTo>
                    <a:pt x="414" y="102"/>
                  </a:lnTo>
                  <a:lnTo>
                    <a:pt x="408" y="97"/>
                  </a:lnTo>
                  <a:lnTo>
                    <a:pt x="403" y="91"/>
                  </a:lnTo>
                  <a:lnTo>
                    <a:pt x="397" y="91"/>
                  </a:lnTo>
                  <a:lnTo>
                    <a:pt x="391" y="85"/>
                  </a:lnTo>
                  <a:lnTo>
                    <a:pt x="391" y="80"/>
                  </a:lnTo>
                  <a:lnTo>
                    <a:pt x="397" y="74"/>
                  </a:lnTo>
                  <a:lnTo>
                    <a:pt x="403" y="68"/>
                  </a:lnTo>
                  <a:lnTo>
                    <a:pt x="403" y="63"/>
                  </a:lnTo>
                  <a:lnTo>
                    <a:pt x="403" y="57"/>
                  </a:lnTo>
                  <a:lnTo>
                    <a:pt x="408" y="57"/>
                  </a:lnTo>
                  <a:lnTo>
                    <a:pt x="414" y="57"/>
                  </a:lnTo>
                  <a:lnTo>
                    <a:pt x="420" y="57"/>
                  </a:lnTo>
                  <a:lnTo>
                    <a:pt x="425" y="57"/>
                  </a:lnTo>
                  <a:lnTo>
                    <a:pt x="431" y="57"/>
                  </a:lnTo>
                  <a:lnTo>
                    <a:pt x="437" y="63"/>
                  </a:lnTo>
                  <a:lnTo>
                    <a:pt x="437" y="68"/>
                  </a:lnTo>
                  <a:lnTo>
                    <a:pt x="442" y="68"/>
                  </a:lnTo>
                  <a:lnTo>
                    <a:pt x="442" y="74"/>
                  </a:lnTo>
                  <a:lnTo>
                    <a:pt x="442" y="80"/>
                  </a:lnTo>
                  <a:lnTo>
                    <a:pt x="448" y="80"/>
                  </a:lnTo>
                  <a:lnTo>
                    <a:pt x="448" y="74"/>
                  </a:lnTo>
                  <a:lnTo>
                    <a:pt x="454" y="68"/>
                  </a:lnTo>
                  <a:lnTo>
                    <a:pt x="459" y="68"/>
                  </a:lnTo>
                  <a:lnTo>
                    <a:pt x="459" y="63"/>
                  </a:lnTo>
                  <a:lnTo>
                    <a:pt x="471" y="57"/>
                  </a:lnTo>
                  <a:lnTo>
                    <a:pt x="476" y="57"/>
                  </a:lnTo>
                  <a:lnTo>
                    <a:pt x="476" y="51"/>
                  </a:lnTo>
                  <a:lnTo>
                    <a:pt x="482" y="51"/>
                  </a:lnTo>
                  <a:lnTo>
                    <a:pt x="488" y="46"/>
                  </a:lnTo>
                  <a:lnTo>
                    <a:pt x="493" y="46"/>
                  </a:lnTo>
                  <a:lnTo>
                    <a:pt x="499" y="40"/>
                  </a:lnTo>
                  <a:lnTo>
                    <a:pt x="505" y="40"/>
                  </a:lnTo>
                  <a:lnTo>
                    <a:pt x="510" y="40"/>
                  </a:lnTo>
                  <a:lnTo>
                    <a:pt x="510" y="34"/>
                  </a:lnTo>
                  <a:lnTo>
                    <a:pt x="516" y="29"/>
                  </a:lnTo>
                  <a:lnTo>
                    <a:pt x="522" y="29"/>
                  </a:lnTo>
                  <a:lnTo>
                    <a:pt x="527" y="29"/>
                  </a:lnTo>
                  <a:lnTo>
                    <a:pt x="527" y="23"/>
                  </a:lnTo>
                  <a:lnTo>
                    <a:pt x="533" y="23"/>
                  </a:lnTo>
                  <a:lnTo>
                    <a:pt x="539" y="17"/>
                  </a:lnTo>
                  <a:lnTo>
                    <a:pt x="544" y="17"/>
                  </a:lnTo>
                  <a:lnTo>
                    <a:pt x="550" y="17"/>
                  </a:lnTo>
                  <a:lnTo>
                    <a:pt x="556" y="6"/>
                  </a:lnTo>
                  <a:lnTo>
                    <a:pt x="561" y="6"/>
                  </a:lnTo>
                  <a:lnTo>
                    <a:pt x="567" y="6"/>
                  </a:lnTo>
                  <a:lnTo>
                    <a:pt x="584" y="6"/>
                  </a:lnTo>
                  <a:lnTo>
                    <a:pt x="590" y="6"/>
                  </a:lnTo>
                  <a:lnTo>
                    <a:pt x="601" y="0"/>
                  </a:lnTo>
                  <a:lnTo>
                    <a:pt x="601" y="6"/>
                  </a:lnTo>
                  <a:lnTo>
                    <a:pt x="601" y="17"/>
                  </a:lnTo>
                  <a:lnTo>
                    <a:pt x="607" y="29"/>
                  </a:lnTo>
                  <a:lnTo>
                    <a:pt x="612" y="46"/>
                  </a:lnTo>
                  <a:lnTo>
                    <a:pt x="612" y="51"/>
                  </a:lnTo>
                  <a:lnTo>
                    <a:pt x="618" y="68"/>
                  </a:lnTo>
                  <a:lnTo>
                    <a:pt x="624" y="80"/>
                  </a:lnTo>
                  <a:lnTo>
                    <a:pt x="624" y="91"/>
                  </a:lnTo>
                  <a:lnTo>
                    <a:pt x="624" y="97"/>
                  </a:lnTo>
                  <a:lnTo>
                    <a:pt x="624" y="114"/>
                  </a:lnTo>
                  <a:lnTo>
                    <a:pt x="629" y="125"/>
                  </a:lnTo>
                  <a:lnTo>
                    <a:pt x="629" y="131"/>
                  </a:lnTo>
                  <a:lnTo>
                    <a:pt x="624" y="142"/>
                  </a:lnTo>
                  <a:lnTo>
                    <a:pt x="618" y="153"/>
                  </a:lnTo>
                  <a:lnTo>
                    <a:pt x="618" y="165"/>
                  </a:lnTo>
                  <a:lnTo>
                    <a:pt x="612" y="170"/>
                  </a:lnTo>
                  <a:lnTo>
                    <a:pt x="612" y="182"/>
                  </a:lnTo>
                  <a:lnTo>
                    <a:pt x="612" y="193"/>
                  </a:lnTo>
                  <a:lnTo>
                    <a:pt x="607" y="199"/>
                  </a:lnTo>
                  <a:lnTo>
                    <a:pt x="601" y="210"/>
                  </a:lnTo>
                  <a:lnTo>
                    <a:pt x="601" y="216"/>
                  </a:lnTo>
                  <a:lnTo>
                    <a:pt x="595" y="221"/>
                  </a:lnTo>
                  <a:lnTo>
                    <a:pt x="595" y="227"/>
                  </a:lnTo>
                  <a:lnTo>
                    <a:pt x="595" y="238"/>
                  </a:lnTo>
                  <a:lnTo>
                    <a:pt x="590" y="250"/>
                  </a:lnTo>
                  <a:lnTo>
                    <a:pt x="590" y="261"/>
                  </a:lnTo>
                  <a:lnTo>
                    <a:pt x="584" y="267"/>
                  </a:lnTo>
                  <a:lnTo>
                    <a:pt x="590" y="267"/>
                  </a:lnTo>
                  <a:lnTo>
                    <a:pt x="584" y="267"/>
                  </a:lnTo>
                  <a:lnTo>
                    <a:pt x="578" y="278"/>
                  </a:lnTo>
                  <a:lnTo>
                    <a:pt x="573" y="284"/>
                  </a:lnTo>
                  <a:lnTo>
                    <a:pt x="573" y="295"/>
                  </a:lnTo>
                  <a:lnTo>
                    <a:pt x="573" y="301"/>
                  </a:lnTo>
                  <a:lnTo>
                    <a:pt x="573" y="312"/>
                  </a:lnTo>
                  <a:lnTo>
                    <a:pt x="573" y="318"/>
                  </a:lnTo>
                  <a:lnTo>
                    <a:pt x="567" y="323"/>
                  </a:lnTo>
                  <a:lnTo>
                    <a:pt x="556" y="335"/>
                  </a:lnTo>
                  <a:lnTo>
                    <a:pt x="550" y="340"/>
                  </a:lnTo>
                  <a:lnTo>
                    <a:pt x="550" y="352"/>
                  </a:lnTo>
                  <a:lnTo>
                    <a:pt x="556" y="363"/>
                  </a:lnTo>
                  <a:lnTo>
                    <a:pt x="556" y="374"/>
                  </a:lnTo>
                  <a:lnTo>
                    <a:pt x="550" y="380"/>
                  </a:lnTo>
                  <a:lnTo>
                    <a:pt x="544" y="380"/>
                  </a:lnTo>
                  <a:lnTo>
                    <a:pt x="539" y="391"/>
                  </a:lnTo>
                  <a:lnTo>
                    <a:pt x="539" y="403"/>
                  </a:lnTo>
                  <a:lnTo>
                    <a:pt x="544" y="408"/>
                  </a:lnTo>
                  <a:lnTo>
                    <a:pt x="544" y="414"/>
                  </a:lnTo>
                  <a:lnTo>
                    <a:pt x="539" y="420"/>
                  </a:lnTo>
                  <a:lnTo>
                    <a:pt x="527" y="420"/>
                  </a:lnTo>
                  <a:lnTo>
                    <a:pt x="527" y="425"/>
                  </a:lnTo>
                  <a:lnTo>
                    <a:pt x="522" y="431"/>
                  </a:lnTo>
                  <a:lnTo>
                    <a:pt x="510" y="431"/>
                  </a:lnTo>
                  <a:lnTo>
                    <a:pt x="505" y="431"/>
                  </a:lnTo>
                  <a:lnTo>
                    <a:pt x="499" y="431"/>
                  </a:lnTo>
                  <a:lnTo>
                    <a:pt x="488" y="431"/>
                  </a:lnTo>
                  <a:lnTo>
                    <a:pt x="476" y="431"/>
                  </a:lnTo>
                  <a:lnTo>
                    <a:pt x="471" y="437"/>
                  </a:lnTo>
                  <a:lnTo>
                    <a:pt x="459" y="437"/>
                  </a:lnTo>
                  <a:lnTo>
                    <a:pt x="459" y="448"/>
                  </a:lnTo>
                  <a:lnTo>
                    <a:pt x="454" y="454"/>
                  </a:lnTo>
                  <a:lnTo>
                    <a:pt x="448" y="448"/>
                  </a:lnTo>
                  <a:lnTo>
                    <a:pt x="442" y="448"/>
                  </a:lnTo>
                  <a:lnTo>
                    <a:pt x="437" y="448"/>
                  </a:lnTo>
                  <a:lnTo>
                    <a:pt x="431" y="454"/>
                  </a:lnTo>
                  <a:lnTo>
                    <a:pt x="431" y="459"/>
                  </a:lnTo>
                  <a:lnTo>
                    <a:pt x="431" y="465"/>
                  </a:lnTo>
                  <a:lnTo>
                    <a:pt x="431" y="471"/>
                  </a:lnTo>
                  <a:lnTo>
                    <a:pt x="431" y="477"/>
                  </a:lnTo>
                  <a:lnTo>
                    <a:pt x="420" y="482"/>
                  </a:lnTo>
                  <a:lnTo>
                    <a:pt x="420" y="488"/>
                  </a:lnTo>
                  <a:lnTo>
                    <a:pt x="414" y="488"/>
                  </a:lnTo>
                  <a:lnTo>
                    <a:pt x="408" y="488"/>
                  </a:lnTo>
                  <a:lnTo>
                    <a:pt x="403" y="482"/>
                  </a:lnTo>
                  <a:lnTo>
                    <a:pt x="397" y="482"/>
                  </a:lnTo>
                  <a:lnTo>
                    <a:pt x="391" y="488"/>
                  </a:lnTo>
                  <a:lnTo>
                    <a:pt x="386" y="488"/>
                  </a:lnTo>
                  <a:lnTo>
                    <a:pt x="386" y="494"/>
                  </a:lnTo>
                  <a:lnTo>
                    <a:pt x="380" y="494"/>
                  </a:lnTo>
                  <a:lnTo>
                    <a:pt x="374" y="499"/>
                  </a:lnTo>
                  <a:lnTo>
                    <a:pt x="369" y="499"/>
                  </a:lnTo>
                  <a:lnTo>
                    <a:pt x="363" y="494"/>
                  </a:lnTo>
                  <a:lnTo>
                    <a:pt x="357" y="488"/>
                  </a:lnTo>
                  <a:lnTo>
                    <a:pt x="352" y="482"/>
                  </a:lnTo>
                  <a:lnTo>
                    <a:pt x="346" y="477"/>
                  </a:lnTo>
                  <a:lnTo>
                    <a:pt x="340" y="482"/>
                  </a:lnTo>
                  <a:lnTo>
                    <a:pt x="335" y="482"/>
                  </a:lnTo>
                  <a:lnTo>
                    <a:pt x="335" y="488"/>
                  </a:lnTo>
                  <a:lnTo>
                    <a:pt x="335" y="494"/>
                  </a:lnTo>
                  <a:lnTo>
                    <a:pt x="329" y="494"/>
                  </a:lnTo>
                  <a:lnTo>
                    <a:pt x="329" y="499"/>
                  </a:lnTo>
                  <a:lnTo>
                    <a:pt x="318" y="505"/>
                  </a:lnTo>
                  <a:lnTo>
                    <a:pt x="312" y="505"/>
                  </a:lnTo>
                  <a:lnTo>
                    <a:pt x="306" y="511"/>
                  </a:lnTo>
                  <a:lnTo>
                    <a:pt x="306" y="516"/>
                  </a:lnTo>
                  <a:lnTo>
                    <a:pt x="301" y="516"/>
                  </a:lnTo>
                  <a:lnTo>
                    <a:pt x="295" y="516"/>
                  </a:lnTo>
                  <a:lnTo>
                    <a:pt x="289" y="522"/>
                  </a:lnTo>
                  <a:lnTo>
                    <a:pt x="278" y="528"/>
                  </a:lnTo>
                  <a:lnTo>
                    <a:pt x="267" y="528"/>
                  </a:lnTo>
                  <a:lnTo>
                    <a:pt x="267" y="533"/>
                  </a:lnTo>
                  <a:lnTo>
                    <a:pt x="261" y="533"/>
                  </a:lnTo>
                  <a:lnTo>
                    <a:pt x="255" y="533"/>
                  </a:lnTo>
                  <a:lnTo>
                    <a:pt x="250" y="533"/>
                  </a:lnTo>
                  <a:lnTo>
                    <a:pt x="244" y="528"/>
                  </a:lnTo>
                  <a:lnTo>
                    <a:pt x="238" y="528"/>
                  </a:lnTo>
                  <a:lnTo>
                    <a:pt x="233" y="522"/>
                  </a:lnTo>
                  <a:lnTo>
                    <a:pt x="227" y="522"/>
                  </a:lnTo>
                  <a:lnTo>
                    <a:pt x="221" y="516"/>
                  </a:lnTo>
                  <a:lnTo>
                    <a:pt x="210" y="516"/>
                  </a:lnTo>
                  <a:lnTo>
                    <a:pt x="204" y="511"/>
                  </a:lnTo>
                  <a:lnTo>
                    <a:pt x="199" y="511"/>
                  </a:lnTo>
                  <a:lnTo>
                    <a:pt x="193" y="511"/>
                  </a:lnTo>
                  <a:lnTo>
                    <a:pt x="193" y="505"/>
                  </a:lnTo>
                  <a:lnTo>
                    <a:pt x="176" y="494"/>
                  </a:lnTo>
                  <a:lnTo>
                    <a:pt x="170" y="488"/>
                  </a:lnTo>
                  <a:lnTo>
                    <a:pt x="165" y="488"/>
                  </a:lnTo>
                  <a:lnTo>
                    <a:pt x="159" y="488"/>
                  </a:lnTo>
                  <a:lnTo>
                    <a:pt x="153" y="488"/>
                  </a:lnTo>
                  <a:lnTo>
                    <a:pt x="142" y="488"/>
                  </a:lnTo>
                  <a:lnTo>
                    <a:pt x="142" y="482"/>
                  </a:lnTo>
                  <a:lnTo>
                    <a:pt x="136" y="477"/>
                  </a:lnTo>
                  <a:lnTo>
                    <a:pt x="136" y="471"/>
                  </a:lnTo>
                  <a:lnTo>
                    <a:pt x="136" y="459"/>
                  </a:lnTo>
                  <a:lnTo>
                    <a:pt x="136" y="448"/>
                  </a:lnTo>
                  <a:lnTo>
                    <a:pt x="131" y="442"/>
                  </a:lnTo>
                  <a:lnTo>
                    <a:pt x="125" y="425"/>
                  </a:lnTo>
                  <a:lnTo>
                    <a:pt x="125" y="420"/>
                  </a:lnTo>
                  <a:lnTo>
                    <a:pt x="125" y="414"/>
                  </a:lnTo>
                  <a:lnTo>
                    <a:pt x="125" y="408"/>
                  </a:lnTo>
                  <a:lnTo>
                    <a:pt x="125" y="403"/>
                  </a:lnTo>
                  <a:lnTo>
                    <a:pt x="131" y="408"/>
                  </a:lnTo>
                  <a:lnTo>
                    <a:pt x="136" y="408"/>
                  </a:lnTo>
                  <a:lnTo>
                    <a:pt x="142" y="408"/>
                  </a:lnTo>
                  <a:lnTo>
                    <a:pt x="148" y="403"/>
                  </a:lnTo>
                  <a:lnTo>
                    <a:pt x="148" y="397"/>
                  </a:lnTo>
                  <a:lnTo>
                    <a:pt x="142" y="397"/>
                  </a:lnTo>
                  <a:lnTo>
                    <a:pt x="136" y="391"/>
                  </a:lnTo>
                  <a:lnTo>
                    <a:pt x="131" y="391"/>
                  </a:lnTo>
                  <a:lnTo>
                    <a:pt x="125" y="391"/>
                  </a:lnTo>
                  <a:lnTo>
                    <a:pt x="119" y="386"/>
                  </a:lnTo>
                  <a:lnTo>
                    <a:pt x="114" y="386"/>
                  </a:lnTo>
                  <a:lnTo>
                    <a:pt x="108" y="386"/>
                  </a:lnTo>
                  <a:lnTo>
                    <a:pt x="102" y="380"/>
                  </a:lnTo>
                  <a:lnTo>
                    <a:pt x="97" y="380"/>
                  </a:lnTo>
                  <a:lnTo>
                    <a:pt x="97" y="374"/>
                  </a:lnTo>
                  <a:lnTo>
                    <a:pt x="80" y="357"/>
                  </a:lnTo>
                  <a:lnTo>
                    <a:pt x="74" y="357"/>
                  </a:lnTo>
                  <a:lnTo>
                    <a:pt x="74" y="352"/>
                  </a:lnTo>
                  <a:lnTo>
                    <a:pt x="74" y="346"/>
                  </a:lnTo>
                  <a:lnTo>
                    <a:pt x="74" y="340"/>
                  </a:lnTo>
                  <a:lnTo>
                    <a:pt x="74" y="329"/>
                  </a:lnTo>
                  <a:lnTo>
                    <a:pt x="63" y="318"/>
                  </a:lnTo>
                  <a:lnTo>
                    <a:pt x="57" y="312"/>
                  </a:lnTo>
                  <a:lnTo>
                    <a:pt x="51" y="312"/>
                  </a:lnTo>
                  <a:lnTo>
                    <a:pt x="51" y="306"/>
                  </a:lnTo>
                  <a:lnTo>
                    <a:pt x="46" y="295"/>
                  </a:lnTo>
                  <a:lnTo>
                    <a:pt x="40" y="284"/>
                  </a:lnTo>
                  <a:lnTo>
                    <a:pt x="34" y="284"/>
                  </a:lnTo>
                  <a:lnTo>
                    <a:pt x="34" y="278"/>
                  </a:lnTo>
                  <a:lnTo>
                    <a:pt x="34" y="272"/>
                  </a:lnTo>
                  <a:lnTo>
                    <a:pt x="34" y="267"/>
                  </a:lnTo>
                  <a:lnTo>
                    <a:pt x="34" y="261"/>
                  </a:lnTo>
                  <a:lnTo>
                    <a:pt x="29" y="261"/>
                  </a:lnTo>
                  <a:lnTo>
                    <a:pt x="23" y="261"/>
                  </a:lnTo>
                  <a:lnTo>
                    <a:pt x="12" y="244"/>
                  </a:lnTo>
                  <a:lnTo>
                    <a:pt x="12" y="233"/>
                  </a:lnTo>
                  <a:lnTo>
                    <a:pt x="6" y="233"/>
                  </a:lnTo>
                  <a:lnTo>
                    <a:pt x="6" y="221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3" name="Freeform 22"/>
            <p:cNvSpPr>
              <a:spLocks/>
            </p:cNvSpPr>
            <p:nvPr/>
          </p:nvSpPr>
          <p:spPr bwMode="gray">
            <a:xfrm>
              <a:off x="1351058" y="3647609"/>
              <a:ext cx="859029" cy="875683"/>
            </a:xfrm>
            <a:custGeom>
              <a:avLst/>
              <a:gdLst>
                <a:gd name="T0" fmla="*/ 2147483647 w 612"/>
                <a:gd name="T1" fmla="*/ 2147483647 h 657"/>
                <a:gd name="T2" fmla="*/ 0 w 612"/>
                <a:gd name="T3" fmla="*/ 2147483647 h 657"/>
                <a:gd name="T4" fmla="*/ 2147483647 w 612"/>
                <a:gd name="T5" fmla="*/ 2147483647 h 657"/>
                <a:gd name="T6" fmla="*/ 2147483647 w 612"/>
                <a:gd name="T7" fmla="*/ 2147483647 h 657"/>
                <a:gd name="T8" fmla="*/ 2147483647 w 612"/>
                <a:gd name="T9" fmla="*/ 2147483647 h 657"/>
                <a:gd name="T10" fmla="*/ 2147483647 w 612"/>
                <a:gd name="T11" fmla="*/ 2147483647 h 657"/>
                <a:gd name="T12" fmla="*/ 2147483647 w 612"/>
                <a:gd name="T13" fmla="*/ 2147483647 h 657"/>
                <a:gd name="T14" fmla="*/ 2147483647 w 612"/>
                <a:gd name="T15" fmla="*/ 2147483647 h 657"/>
                <a:gd name="T16" fmla="*/ 2147483647 w 612"/>
                <a:gd name="T17" fmla="*/ 2147483647 h 657"/>
                <a:gd name="T18" fmla="*/ 2147483647 w 612"/>
                <a:gd name="T19" fmla="*/ 2147483647 h 657"/>
                <a:gd name="T20" fmla="*/ 2147483647 w 612"/>
                <a:gd name="T21" fmla="*/ 2147483647 h 657"/>
                <a:gd name="T22" fmla="*/ 2147483647 w 612"/>
                <a:gd name="T23" fmla="*/ 2147483647 h 657"/>
                <a:gd name="T24" fmla="*/ 2147483647 w 612"/>
                <a:gd name="T25" fmla="*/ 2147483647 h 657"/>
                <a:gd name="T26" fmla="*/ 2147483647 w 612"/>
                <a:gd name="T27" fmla="*/ 2147483647 h 657"/>
                <a:gd name="T28" fmla="*/ 2147483647 w 612"/>
                <a:gd name="T29" fmla="*/ 2147483647 h 657"/>
                <a:gd name="T30" fmla="*/ 2147483647 w 612"/>
                <a:gd name="T31" fmla="*/ 2147483647 h 657"/>
                <a:gd name="T32" fmla="*/ 2147483647 w 612"/>
                <a:gd name="T33" fmla="*/ 2147483647 h 657"/>
                <a:gd name="T34" fmla="*/ 2147483647 w 612"/>
                <a:gd name="T35" fmla="*/ 2147483647 h 657"/>
                <a:gd name="T36" fmla="*/ 2147483647 w 612"/>
                <a:gd name="T37" fmla="*/ 2147483647 h 657"/>
                <a:gd name="T38" fmla="*/ 2147483647 w 612"/>
                <a:gd name="T39" fmla="*/ 2147483647 h 657"/>
                <a:gd name="T40" fmla="*/ 2147483647 w 612"/>
                <a:gd name="T41" fmla="*/ 2147483647 h 657"/>
                <a:gd name="T42" fmla="*/ 2147483647 w 612"/>
                <a:gd name="T43" fmla="*/ 2147483647 h 657"/>
                <a:gd name="T44" fmla="*/ 2147483647 w 612"/>
                <a:gd name="T45" fmla="*/ 2147483647 h 657"/>
                <a:gd name="T46" fmla="*/ 2147483647 w 612"/>
                <a:gd name="T47" fmla="*/ 2147483647 h 657"/>
                <a:gd name="T48" fmla="*/ 2147483647 w 612"/>
                <a:gd name="T49" fmla="*/ 2147483647 h 657"/>
                <a:gd name="T50" fmla="*/ 2147483647 w 612"/>
                <a:gd name="T51" fmla="*/ 2147483647 h 657"/>
                <a:gd name="T52" fmla="*/ 2147483647 w 612"/>
                <a:gd name="T53" fmla="*/ 2147483647 h 657"/>
                <a:gd name="T54" fmla="*/ 2147483647 w 612"/>
                <a:gd name="T55" fmla="*/ 2147483647 h 657"/>
                <a:gd name="T56" fmla="*/ 2147483647 w 612"/>
                <a:gd name="T57" fmla="*/ 2147483647 h 657"/>
                <a:gd name="T58" fmla="*/ 2147483647 w 612"/>
                <a:gd name="T59" fmla="*/ 2147483647 h 657"/>
                <a:gd name="T60" fmla="*/ 2147483647 w 612"/>
                <a:gd name="T61" fmla="*/ 2147483647 h 657"/>
                <a:gd name="T62" fmla="*/ 2147483647 w 612"/>
                <a:gd name="T63" fmla="*/ 2147483647 h 657"/>
                <a:gd name="T64" fmla="*/ 2147483647 w 612"/>
                <a:gd name="T65" fmla="*/ 2147483647 h 657"/>
                <a:gd name="T66" fmla="*/ 2147483647 w 612"/>
                <a:gd name="T67" fmla="*/ 2147483647 h 657"/>
                <a:gd name="T68" fmla="*/ 2147483647 w 612"/>
                <a:gd name="T69" fmla="*/ 2147483647 h 657"/>
                <a:gd name="T70" fmla="*/ 2147483647 w 612"/>
                <a:gd name="T71" fmla="*/ 2147483647 h 657"/>
                <a:gd name="T72" fmla="*/ 2147483647 w 612"/>
                <a:gd name="T73" fmla="*/ 2147483647 h 657"/>
                <a:gd name="T74" fmla="*/ 2147483647 w 612"/>
                <a:gd name="T75" fmla="*/ 2147483647 h 657"/>
                <a:gd name="T76" fmla="*/ 2147483647 w 612"/>
                <a:gd name="T77" fmla="*/ 2147483647 h 657"/>
                <a:gd name="T78" fmla="*/ 2147483647 w 612"/>
                <a:gd name="T79" fmla="*/ 2147483647 h 657"/>
                <a:gd name="T80" fmla="*/ 2147483647 w 612"/>
                <a:gd name="T81" fmla="*/ 2147483647 h 657"/>
                <a:gd name="T82" fmla="*/ 2147483647 w 612"/>
                <a:gd name="T83" fmla="*/ 2147483647 h 657"/>
                <a:gd name="T84" fmla="*/ 2147483647 w 612"/>
                <a:gd name="T85" fmla="*/ 2147483647 h 657"/>
                <a:gd name="T86" fmla="*/ 2147483647 w 612"/>
                <a:gd name="T87" fmla="*/ 2147483647 h 657"/>
                <a:gd name="T88" fmla="*/ 2147483647 w 612"/>
                <a:gd name="T89" fmla="*/ 2147483647 h 657"/>
                <a:gd name="T90" fmla="*/ 2147483647 w 612"/>
                <a:gd name="T91" fmla="*/ 2147483647 h 657"/>
                <a:gd name="T92" fmla="*/ 2147483647 w 612"/>
                <a:gd name="T93" fmla="*/ 2147483647 h 657"/>
                <a:gd name="T94" fmla="*/ 2147483647 w 612"/>
                <a:gd name="T95" fmla="*/ 2147483647 h 657"/>
                <a:gd name="T96" fmla="*/ 2147483647 w 612"/>
                <a:gd name="T97" fmla="*/ 2147483647 h 657"/>
                <a:gd name="T98" fmla="*/ 2147483647 w 612"/>
                <a:gd name="T99" fmla="*/ 2147483647 h 657"/>
                <a:gd name="T100" fmla="*/ 2147483647 w 612"/>
                <a:gd name="T101" fmla="*/ 2147483647 h 657"/>
                <a:gd name="T102" fmla="*/ 2147483647 w 612"/>
                <a:gd name="T103" fmla="*/ 2147483647 h 657"/>
                <a:gd name="T104" fmla="*/ 2147483647 w 612"/>
                <a:gd name="T105" fmla="*/ 2147483647 h 657"/>
                <a:gd name="T106" fmla="*/ 2147483647 w 612"/>
                <a:gd name="T107" fmla="*/ 2147483647 h 657"/>
                <a:gd name="T108" fmla="*/ 2147483647 w 612"/>
                <a:gd name="T109" fmla="*/ 2147483647 h 657"/>
                <a:gd name="T110" fmla="*/ 2147483647 w 612"/>
                <a:gd name="T111" fmla="*/ 2147483647 h 657"/>
                <a:gd name="T112" fmla="*/ 2147483647 w 612"/>
                <a:gd name="T113" fmla="*/ 2147483647 h 657"/>
                <a:gd name="T114" fmla="*/ 2147483647 w 612"/>
                <a:gd name="T115" fmla="*/ 2147483647 h 657"/>
                <a:gd name="T116" fmla="*/ 2147483647 w 612"/>
                <a:gd name="T117" fmla="*/ 2147483647 h 657"/>
                <a:gd name="T118" fmla="*/ 2147483647 w 612"/>
                <a:gd name="T119" fmla="*/ 2147483647 h 657"/>
                <a:gd name="T120" fmla="*/ 2147483647 w 612"/>
                <a:gd name="T121" fmla="*/ 2147483647 h 657"/>
                <a:gd name="T122" fmla="*/ 2147483647 w 612"/>
                <a:gd name="T123" fmla="*/ 2147483647 h 65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12"/>
                <a:gd name="T187" fmla="*/ 0 h 657"/>
                <a:gd name="T188" fmla="*/ 612 w 612"/>
                <a:gd name="T189" fmla="*/ 657 h 65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12" h="657">
                  <a:moveTo>
                    <a:pt x="40" y="510"/>
                  </a:moveTo>
                  <a:lnTo>
                    <a:pt x="40" y="504"/>
                  </a:lnTo>
                  <a:lnTo>
                    <a:pt x="34" y="499"/>
                  </a:lnTo>
                  <a:lnTo>
                    <a:pt x="29" y="493"/>
                  </a:lnTo>
                  <a:lnTo>
                    <a:pt x="23" y="487"/>
                  </a:lnTo>
                  <a:lnTo>
                    <a:pt x="17" y="487"/>
                  </a:lnTo>
                  <a:lnTo>
                    <a:pt x="12" y="487"/>
                  </a:lnTo>
                  <a:lnTo>
                    <a:pt x="12" y="482"/>
                  </a:lnTo>
                  <a:lnTo>
                    <a:pt x="6" y="482"/>
                  </a:lnTo>
                  <a:lnTo>
                    <a:pt x="6" y="476"/>
                  </a:lnTo>
                  <a:lnTo>
                    <a:pt x="0" y="470"/>
                  </a:lnTo>
                  <a:lnTo>
                    <a:pt x="0" y="465"/>
                  </a:lnTo>
                  <a:lnTo>
                    <a:pt x="0" y="459"/>
                  </a:lnTo>
                  <a:lnTo>
                    <a:pt x="0" y="453"/>
                  </a:lnTo>
                  <a:lnTo>
                    <a:pt x="6" y="453"/>
                  </a:lnTo>
                  <a:lnTo>
                    <a:pt x="6" y="448"/>
                  </a:lnTo>
                  <a:lnTo>
                    <a:pt x="6" y="442"/>
                  </a:lnTo>
                  <a:lnTo>
                    <a:pt x="6" y="436"/>
                  </a:lnTo>
                  <a:lnTo>
                    <a:pt x="17" y="436"/>
                  </a:lnTo>
                  <a:lnTo>
                    <a:pt x="23" y="436"/>
                  </a:lnTo>
                  <a:lnTo>
                    <a:pt x="23" y="431"/>
                  </a:lnTo>
                  <a:lnTo>
                    <a:pt x="29" y="425"/>
                  </a:lnTo>
                  <a:lnTo>
                    <a:pt x="29" y="419"/>
                  </a:lnTo>
                  <a:lnTo>
                    <a:pt x="29" y="414"/>
                  </a:lnTo>
                  <a:lnTo>
                    <a:pt x="34" y="408"/>
                  </a:lnTo>
                  <a:lnTo>
                    <a:pt x="34" y="402"/>
                  </a:lnTo>
                  <a:lnTo>
                    <a:pt x="40" y="397"/>
                  </a:lnTo>
                  <a:lnTo>
                    <a:pt x="46" y="391"/>
                  </a:lnTo>
                  <a:lnTo>
                    <a:pt x="46" y="385"/>
                  </a:lnTo>
                  <a:lnTo>
                    <a:pt x="51" y="380"/>
                  </a:lnTo>
                  <a:lnTo>
                    <a:pt x="51" y="374"/>
                  </a:lnTo>
                  <a:lnTo>
                    <a:pt x="51" y="368"/>
                  </a:lnTo>
                  <a:lnTo>
                    <a:pt x="51" y="363"/>
                  </a:lnTo>
                  <a:lnTo>
                    <a:pt x="46" y="363"/>
                  </a:lnTo>
                  <a:lnTo>
                    <a:pt x="46" y="357"/>
                  </a:lnTo>
                  <a:lnTo>
                    <a:pt x="40" y="357"/>
                  </a:lnTo>
                  <a:lnTo>
                    <a:pt x="34" y="351"/>
                  </a:lnTo>
                  <a:lnTo>
                    <a:pt x="34" y="346"/>
                  </a:lnTo>
                  <a:lnTo>
                    <a:pt x="34" y="334"/>
                  </a:lnTo>
                  <a:lnTo>
                    <a:pt x="40" y="329"/>
                  </a:lnTo>
                  <a:lnTo>
                    <a:pt x="40" y="317"/>
                  </a:lnTo>
                  <a:lnTo>
                    <a:pt x="46" y="317"/>
                  </a:lnTo>
                  <a:lnTo>
                    <a:pt x="46" y="306"/>
                  </a:lnTo>
                  <a:lnTo>
                    <a:pt x="46" y="300"/>
                  </a:lnTo>
                  <a:lnTo>
                    <a:pt x="51" y="300"/>
                  </a:lnTo>
                  <a:lnTo>
                    <a:pt x="57" y="300"/>
                  </a:lnTo>
                  <a:lnTo>
                    <a:pt x="57" y="295"/>
                  </a:lnTo>
                  <a:lnTo>
                    <a:pt x="63" y="295"/>
                  </a:lnTo>
                  <a:lnTo>
                    <a:pt x="63" y="289"/>
                  </a:lnTo>
                  <a:lnTo>
                    <a:pt x="63" y="278"/>
                  </a:lnTo>
                  <a:lnTo>
                    <a:pt x="68" y="278"/>
                  </a:lnTo>
                  <a:lnTo>
                    <a:pt x="74" y="272"/>
                  </a:lnTo>
                  <a:lnTo>
                    <a:pt x="74" y="266"/>
                  </a:lnTo>
                  <a:lnTo>
                    <a:pt x="80" y="261"/>
                  </a:lnTo>
                  <a:lnTo>
                    <a:pt x="85" y="249"/>
                  </a:lnTo>
                  <a:lnTo>
                    <a:pt x="91" y="249"/>
                  </a:lnTo>
                  <a:lnTo>
                    <a:pt x="97" y="249"/>
                  </a:lnTo>
                  <a:lnTo>
                    <a:pt x="108" y="249"/>
                  </a:lnTo>
                  <a:lnTo>
                    <a:pt x="136" y="255"/>
                  </a:lnTo>
                  <a:lnTo>
                    <a:pt x="148" y="255"/>
                  </a:lnTo>
                  <a:lnTo>
                    <a:pt x="159" y="255"/>
                  </a:lnTo>
                  <a:lnTo>
                    <a:pt x="165" y="255"/>
                  </a:lnTo>
                  <a:lnTo>
                    <a:pt x="176" y="255"/>
                  </a:lnTo>
                  <a:lnTo>
                    <a:pt x="187" y="255"/>
                  </a:lnTo>
                  <a:lnTo>
                    <a:pt x="187" y="261"/>
                  </a:lnTo>
                  <a:lnTo>
                    <a:pt x="193" y="261"/>
                  </a:lnTo>
                  <a:lnTo>
                    <a:pt x="199" y="261"/>
                  </a:lnTo>
                  <a:lnTo>
                    <a:pt x="199" y="266"/>
                  </a:lnTo>
                  <a:lnTo>
                    <a:pt x="199" y="272"/>
                  </a:lnTo>
                  <a:lnTo>
                    <a:pt x="187" y="272"/>
                  </a:lnTo>
                  <a:lnTo>
                    <a:pt x="182" y="272"/>
                  </a:lnTo>
                  <a:lnTo>
                    <a:pt x="182" y="278"/>
                  </a:lnTo>
                  <a:lnTo>
                    <a:pt x="187" y="283"/>
                  </a:lnTo>
                  <a:lnTo>
                    <a:pt x="187" y="289"/>
                  </a:lnTo>
                  <a:lnTo>
                    <a:pt x="193" y="295"/>
                  </a:lnTo>
                  <a:lnTo>
                    <a:pt x="193" y="300"/>
                  </a:lnTo>
                  <a:lnTo>
                    <a:pt x="199" y="306"/>
                  </a:lnTo>
                  <a:lnTo>
                    <a:pt x="199" y="312"/>
                  </a:lnTo>
                  <a:lnTo>
                    <a:pt x="204" y="312"/>
                  </a:lnTo>
                  <a:lnTo>
                    <a:pt x="204" y="306"/>
                  </a:lnTo>
                  <a:lnTo>
                    <a:pt x="210" y="306"/>
                  </a:lnTo>
                  <a:lnTo>
                    <a:pt x="210" y="300"/>
                  </a:lnTo>
                  <a:lnTo>
                    <a:pt x="216" y="300"/>
                  </a:lnTo>
                  <a:lnTo>
                    <a:pt x="221" y="300"/>
                  </a:lnTo>
                  <a:lnTo>
                    <a:pt x="227" y="295"/>
                  </a:lnTo>
                  <a:lnTo>
                    <a:pt x="233" y="300"/>
                  </a:lnTo>
                  <a:lnTo>
                    <a:pt x="238" y="306"/>
                  </a:lnTo>
                  <a:lnTo>
                    <a:pt x="244" y="306"/>
                  </a:lnTo>
                  <a:lnTo>
                    <a:pt x="250" y="300"/>
                  </a:lnTo>
                  <a:lnTo>
                    <a:pt x="255" y="295"/>
                  </a:lnTo>
                  <a:lnTo>
                    <a:pt x="255" y="289"/>
                  </a:lnTo>
                  <a:lnTo>
                    <a:pt x="261" y="289"/>
                  </a:lnTo>
                  <a:lnTo>
                    <a:pt x="261" y="283"/>
                  </a:lnTo>
                  <a:lnTo>
                    <a:pt x="261" y="278"/>
                  </a:lnTo>
                  <a:lnTo>
                    <a:pt x="261" y="272"/>
                  </a:lnTo>
                  <a:lnTo>
                    <a:pt x="261" y="266"/>
                  </a:lnTo>
                  <a:lnTo>
                    <a:pt x="261" y="261"/>
                  </a:lnTo>
                  <a:lnTo>
                    <a:pt x="267" y="261"/>
                  </a:lnTo>
                  <a:lnTo>
                    <a:pt x="272" y="261"/>
                  </a:lnTo>
                  <a:lnTo>
                    <a:pt x="272" y="255"/>
                  </a:lnTo>
                  <a:lnTo>
                    <a:pt x="272" y="249"/>
                  </a:lnTo>
                  <a:lnTo>
                    <a:pt x="278" y="244"/>
                  </a:lnTo>
                  <a:lnTo>
                    <a:pt x="284" y="238"/>
                  </a:lnTo>
                  <a:lnTo>
                    <a:pt x="284" y="232"/>
                  </a:lnTo>
                  <a:lnTo>
                    <a:pt x="284" y="227"/>
                  </a:lnTo>
                  <a:lnTo>
                    <a:pt x="284" y="221"/>
                  </a:lnTo>
                  <a:lnTo>
                    <a:pt x="284" y="215"/>
                  </a:lnTo>
                  <a:lnTo>
                    <a:pt x="284" y="210"/>
                  </a:lnTo>
                  <a:lnTo>
                    <a:pt x="284" y="204"/>
                  </a:lnTo>
                  <a:lnTo>
                    <a:pt x="289" y="198"/>
                  </a:lnTo>
                  <a:lnTo>
                    <a:pt x="289" y="193"/>
                  </a:lnTo>
                  <a:lnTo>
                    <a:pt x="295" y="193"/>
                  </a:lnTo>
                  <a:lnTo>
                    <a:pt x="295" y="187"/>
                  </a:lnTo>
                  <a:lnTo>
                    <a:pt x="301" y="181"/>
                  </a:lnTo>
                  <a:lnTo>
                    <a:pt x="301" y="176"/>
                  </a:lnTo>
                  <a:lnTo>
                    <a:pt x="306" y="176"/>
                  </a:lnTo>
                  <a:lnTo>
                    <a:pt x="306" y="170"/>
                  </a:lnTo>
                  <a:lnTo>
                    <a:pt x="312" y="159"/>
                  </a:lnTo>
                  <a:lnTo>
                    <a:pt x="312" y="153"/>
                  </a:lnTo>
                  <a:lnTo>
                    <a:pt x="312" y="147"/>
                  </a:lnTo>
                  <a:lnTo>
                    <a:pt x="318" y="142"/>
                  </a:lnTo>
                  <a:lnTo>
                    <a:pt x="318" y="136"/>
                  </a:lnTo>
                  <a:lnTo>
                    <a:pt x="318" y="130"/>
                  </a:lnTo>
                  <a:lnTo>
                    <a:pt x="318" y="125"/>
                  </a:lnTo>
                  <a:lnTo>
                    <a:pt x="318" y="119"/>
                  </a:lnTo>
                  <a:lnTo>
                    <a:pt x="323" y="119"/>
                  </a:lnTo>
                  <a:lnTo>
                    <a:pt x="329" y="108"/>
                  </a:lnTo>
                  <a:lnTo>
                    <a:pt x="329" y="102"/>
                  </a:lnTo>
                  <a:lnTo>
                    <a:pt x="329" y="96"/>
                  </a:lnTo>
                  <a:lnTo>
                    <a:pt x="335" y="96"/>
                  </a:lnTo>
                  <a:lnTo>
                    <a:pt x="340" y="91"/>
                  </a:lnTo>
                  <a:lnTo>
                    <a:pt x="346" y="91"/>
                  </a:lnTo>
                  <a:lnTo>
                    <a:pt x="346" y="85"/>
                  </a:lnTo>
                  <a:lnTo>
                    <a:pt x="346" y="79"/>
                  </a:lnTo>
                  <a:lnTo>
                    <a:pt x="346" y="74"/>
                  </a:lnTo>
                  <a:lnTo>
                    <a:pt x="346" y="68"/>
                  </a:lnTo>
                  <a:lnTo>
                    <a:pt x="346" y="62"/>
                  </a:lnTo>
                  <a:lnTo>
                    <a:pt x="346" y="57"/>
                  </a:lnTo>
                  <a:lnTo>
                    <a:pt x="352" y="57"/>
                  </a:lnTo>
                  <a:lnTo>
                    <a:pt x="352" y="51"/>
                  </a:lnTo>
                  <a:lnTo>
                    <a:pt x="346" y="51"/>
                  </a:lnTo>
                  <a:lnTo>
                    <a:pt x="346" y="45"/>
                  </a:lnTo>
                  <a:lnTo>
                    <a:pt x="340" y="45"/>
                  </a:lnTo>
                  <a:lnTo>
                    <a:pt x="340" y="40"/>
                  </a:lnTo>
                  <a:lnTo>
                    <a:pt x="340" y="34"/>
                  </a:lnTo>
                  <a:lnTo>
                    <a:pt x="340" y="28"/>
                  </a:lnTo>
                  <a:lnTo>
                    <a:pt x="346" y="28"/>
                  </a:lnTo>
                  <a:lnTo>
                    <a:pt x="346" y="23"/>
                  </a:lnTo>
                  <a:lnTo>
                    <a:pt x="352" y="23"/>
                  </a:lnTo>
                  <a:lnTo>
                    <a:pt x="357" y="23"/>
                  </a:lnTo>
                  <a:lnTo>
                    <a:pt x="363" y="17"/>
                  </a:lnTo>
                  <a:lnTo>
                    <a:pt x="363" y="11"/>
                  </a:lnTo>
                  <a:lnTo>
                    <a:pt x="369" y="11"/>
                  </a:lnTo>
                  <a:lnTo>
                    <a:pt x="369" y="6"/>
                  </a:lnTo>
                  <a:lnTo>
                    <a:pt x="374" y="6"/>
                  </a:lnTo>
                  <a:lnTo>
                    <a:pt x="380" y="0"/>
                  </a:lnTo>
                  <a:lnTo>
                    <a:pt x="386" y="0"/>
                  </a:lnTo>
                  <a:lnTo>
                    <a:pt x="386" y="6"/>
                  </a:lnTo>
                  <a:lnTo>
                    <a:pt x="386" y="11"/>
                  </a:lnTo>
                  <a:lnTo>
                    <a:pt x="391" y="11"/>
                  </a:lnTo>
                  <a:lnTo>
                    <a:pt x="391" y="17"/>
                  </a:lnTo>
                  <a:lnTo>
                    <a:pt x="397" y="17"/>
                  </a:lnTo>
                  <a:lnTo>
                    <a:pt x="403" y="11"/>
                  </a:lnTo>
                  <a:lnTo>
                    <a:pt x="408" y="17"/>
                  </a:lnTo>
                  <a:lnTo>
                    <a:pt x="408" y="23"/>
                  </a:lnTo>
                  <a:lnTo>
                    <a:pt x="403" y="28"/>
                  </a:lnTo>
                  <a:lnTo>
                    <a:pt x="397" y="28"/>
                  </a:lnTo>
                  <a:lnTo>
                    <a:pt x="397" y="40"/>
                  </a:lnTo>
                  <a:lnTo>
                    <a:pt x="397" y="45"/>
                  </a:lnTo>
                  <a:lnTo>
                    <a:pt x="397" y="51"/>
                  </a:lnTo>
                  <a:lnTo>
                    <a:pt x="403" y="51"/>
                  </a:lnTo>
                  <a:lnTo>
                    <a:pt x="408" y="51"/>
                  </a:lnTo>
                  <a:lnTo>
                    <a:pt x="414" y="51"/>
                  </a:lnTo>
                  <a:lnTo>
                    <a:pt x="420" y="51"/>
                  </a:lnTo>
                  <a:lnTo>
                    <a:pt x="425" y="51"/>
                  </a:lnTo>
                  <a:lnTo>
                    <a:pt x="431" y="51"/>
                  </a:lnTo>
                  <a:lnTo>
                    <a:pt x="437" y="45"/>
                  </a:lnTo>
                  <a:lnTo>
                    <a:pt x="442" y="40"/>
                  </a:lnTo>
                  <a:lnTo>
                    <a:pt x="454" y="40"/>
                  </a:lnTo>
                  <a:lnTo>
                    <a:pt x="459" y="45"/>
                  </a:lnTo>
                  <a:lnTo>
                    <a:pt x="465" y="51"/>
                  </a:lnTo>
                  <a:lnTo>
                    <a:pt x="471" y="51"/>
                  </a:lnTo>
                  <a:lnTo>
                    <a:pt x="471" y="57"/>
                  </a:lnTo>
                  <a:lnTo>
                    <a:pt x="471" y="62"/>
                  </a:lnTo>
                  <a:lnTo>
                    <a:pt x="476" y="62"/>
                  </a:lnTo>
                  <a:lnTo>
                    <a:pt x="476" y="68"/>
                  </a:lnTo>
                  <a:lnTo>
                    <a:pt x="482" y="68"/>
                  </a:lnTo>
                  <a:lnTo>
                    <a:pt x="488" y="68"/>
                  </a:lnTo>
                  <a:lnTo>
                    <a:pt x="493" y="68"/>
                  </a:lnTo>
                  <a:lnTo>
                    <a:pt x="499" y="68"/>
                  </a:lnTo>
                  <a:lnTo>
                    <a:pt x="499" y="74"/>
                  </a:lnTo>
                  <a:lnTo>
                    <a:pt x="499" y="79"/>
                  </a:lnTo>
                  <a:lnTo>
                    <a:pt x="499" y="85"/>
                  </a:lnTo>
                  <a:lnTo>
                    <a:pt x="505" y="85"/>
                  </a:lnTo>
                  <a:lnTo>
                    <a:pt x="510" y="85"/>
                  </a:lnTo>
                  <a:lnTo>
                    <a:pt x="516" y="85"/>
                  </a:lnTo>
                  <a:lnTo>
                    <a:pt x="522" y="79"/>
                  </a:lnTo>
                  <a:lnTo>
                    <a:pt x="522" y="85"/>
                  </a:lnTo>
                  <a:lnTo>
                    <a:pt x="522" y="91"/>
                  </a:lnTo>
                  <a:lnTo>
                    <a:pt x="527" y="96"/>
                  </a:lnTo>
                  <a:lnTo>
                    <a:pt x="527" y="102"/>
                  </a:lnTo>
                  <a:lnTo>
                    <a:pt x="527" y="108"/>
                  </a:lnTo>
                  <a:lnTo>
                    <a:pt x="533" y="108"/>
                  </a:lnTo>
                  <a:lnTo>
                    <a:pt x="533" y="113"/>
                  </a:lnTo>
                  <a:lnTo>
                    <a:pt x="539" y="113"/>
                  </a:lnTo>
                  <a:lnTo>
                    <a:pt x="544" y="113"/>
                  </a:lnTo>
                  <a:lnTo>
                    <a:pt x="550" y="113"/>
                  </a:lnTo>
                  <a:lnTo>
                    <a:pt x="550" y="108"/>
                  </a:lnTo>
                  <a:lnTo>
                    <a:pt x="556" y="108"/>
                  </a:lnTo>
                  <a:lnTo>
                    <a:pt x="567" y="108"/>
                  </a:lnTo>
                  <a:lnTo>
                    <a:pt x="573" y="108"/>
                  </a:lnTo>
                  <a:lnTo>
                    <a:pt x="578" y="102"/>
                  </a:lnTo>
                  <a:lnTo>
                    <a:pt x="584" y="108"/>
                  </a:lnTo>
                  <a:lnTo>
                    <a:pt x="590" y="108"/>
                  </a:lnTo>
                  <a:lnTo>
                    <a:pt x="595" y="108"/>
                  </a:lnTo>
                  <a:lnTo>
                    <a:pt x="595" y="113"/>
                  </a:lnTo>
                  <a:lnTo>
                    <a:pt x="595" y="119"/>
                  </a:lnTo>
                  <a:lnTo>
                    <a:pt x="601" y="125"/>
                  </a:lnTo>
                  <a:lnTo>
                    <a:pt x="601" y="130"/>
                  </a:lnTo>
                  <a:lnTo>
                    <a:pt x="607" y="130"/>
                  </a:lnTo>
                  <a:lnTo>
                    <a:pt x="607" y="136"/>
                  </a:lnTo>
                  <a:lnTo>
                    <a:pt x="607" y="142"/>
                  </a:lnTo>
                  <a:lnTo>
                    <a:pt x="607" y="147"/>
                  </a:lnTo>
                  <a:lnTo>
                    <a:pt x="612" y="153"/>
                  </a:lnTo>
                  <a:lnTo>
                    <a:pt x="612" y="159"/>
                  </a:lnTo>
                  <a:lnTo>
                    <a:pt x="607" y="164"/>
                  </a:lnTo>
                  <a:lnTo>
                    <a:pt x="607" y="176"/>
                  </a:lnTo>
                  <a:lnTo>
                    <a:pt x="607" y="181"/>
                  </a:lnTo>
                  <a:lnTo>
                    <a:pt x="607" y="187"/>
                  </a:lnTo>
                  <a:lnTo>
                    <a:pt x="601" y="187"/>
                  </a:lnTo>
                  <a:lnTo>
                    <a:pt x="601" y="193"/>
                  </a:lnTo>
                  <a:lnTo>
                    <a:pt x="595" y="204"/>
                  </a:lnTo>
                  <a:lnTo>
                    <a:pt x="595" y="210"/>
                  </a:lnTo>
                  <a:lnTo>
                    <a:pt x="595" y="221"/>
                  </a:lnTo>
                  <a:lnTo>
                    <a:pt x="595" y="232"/>
                  </a:lnTo>
                  <a:lnTo>
                    <a:pt x="590" y="238"/>
                  </a:lnTo>
                  <a:lnTo>
                    <a:pt x="590" y="244"/>
                  </a:lnTo>
                  <a:lnTo>
                    <a:pt x="584" y="249"/>
                  </a:lnTo>
                  <a:lnTo>
                    <a:pt x="584" y="255"/>
                  </a:lnTo>
                  <a:lnTo>
                    <a:pt x="578" y="261"/>
                  </a:lnTo>
                  <a:lnTo>
                    <a:pt x="578" y="266"/>
                  </a:lnTo>
                  <a:lnTo>
                    <a:pt x="578" y="272"/>
                  </a:lnTo>
                  <a:lnTo>
                    <a:pt x="578" y="278"/>
                  </a:lnTo>
                  <a:lnTo>
                    <a:pt x="578" y="283"/>
                  </a:lnTo>
                  <a:lnTo>
                    <a:pt x="578" y="289"/>
                  </a:lnTo>
                  <a:lnTo>
                    <a:pt x="578" y="300"/>
                  </a:lnTo>
                  <a:lnTo>
                    <a:pt x="578" y="306"/>
                  </a:lnTo>
                  <a:lnTo>
                    <a:pt x="578" y="317"/>
                  </a:lnTo>
                  <a:lnTo>
                    <a:pt x="584" y="329"/>
                  </a:lnTo>
                  <a:lnTo>
                    <a:pt x="584" y="334"/>
                  </a:lnTo>
                  <a:lnTo>
                    <a:pt x="584" y="340"/>
                  </a:lnTo>
                  <a:lnTo>
                    <a:pt x="590" y="346"/>
                  </a:lnTo>
                  <a:lnTo>
                    <a:pt x="590" y="351"/>
                  </a:lnTo>
                  <a:lnTo>
                    <a:pt x="590" y="357"/>
                  </a:lnTo>
                  <a:lnTo>
                    <a:pt x="590" y="368"/>
                  </a:lnTo>
                  <a:lnTo>
                    <a:pt x="590" y="374"/>
                  </a:lnTo>
                  <a:lnTo>
                    <a:pt x="595" y="385"/>
                  </a:lnTo>
                  <a:lnTo>
                    <a:pt x="590" y="385"/>
                  </a:lnTo>
                  <a:lnTo>
                    <a:pt x="584" y="385"/>
                  </a:lnTo>
                  <a:lnTo>
                    <a:pt x="573" y="391"/>
                  </a:lnTo>
                  <a:lnTo>
                    <a:pt x="567" y="391"/>
                  </a:lnTo>
                  <a:lnTo>
                    <a:pt x="550" y="391"/>
                  </a:lnTo>
                  <a:lnTo>
                    <a:pt x="544" y="391"/>
                  </a:lnTo>
                  <a:lnTo>
                    <a:pt x="539" y="391"/>
                  </a:lnTo>
                  <a:lnTo>
                    <a:pt x="533" y="402"/>
                  </a:lnTo>
                  <a:lnTo>
                    <a:pt x="527" y="402"/>
                  </a:lnTo>
                  <a:lnTo>
                    <a:pt x="522" y="402"/>
                  </a:lnTo>
                  <a:lnTo>
                    <a:pt x="516" y="408"/>
                  </a:lnTo>
                  <a:lnTo>
                    <a:pt x="510" y="408"/>
                  </a:lnTo>
                  <a:lnTo>
                    <a:pt x="510" y="414"/>
                  </a:lnTo>
                  <a:lnTo>
                    <a:pt x="505" y="414"/>
                  </a:lnTo>
                  <a:lnTo>
                    <a:pt x="499" y="414"/>
                  </a:lnTo>
                  <a:lnTo>
                    <a:pt x="493" y="419"/>
                  </a:lnTo>
                  <a:lnTo>
                    <a:pt x="493" y="425"/>
                  </a:lnTo>
                  <a:lnTo>
                    <a:pt x="488" y="425"/>
                  </a:lnTo>
                  <a:lnTo>
                    <a:pt x="482" y="425"/>
                  </a:lnTo>
                  <a:lnTo>
                    <a:pt x="476" y="431"/>
                  </a:lnTo>
                  <a:lnTo>
                    <a:pt x="471" y="431"/>
                  </a:lnTo>
                  <a:lnTo>
                    <a:pt x="465" y="436"/>
                  </a:lnTo>
                  <a:lnTo>
                    <a:pt x="459" y="436"/>
                  </a:lnTo>
                  <a:lnTo>
                    <a:pt x="459" y="442"/>
                  </a:lnTo>
                  <a:lnTo>
                    <a:pt x="454" y="442"/>
                  </a:lnTo>
                  <a:lnTo>
                    <a:pt x="442" y="448"/>
                  </a:lnTo>
                  <a:lnTo>
                    <a:pt x="442" y="453"/>
                  </a:lnTo>
                  <a:lnTo>
                    <a:pt x="437" y="453"/>
                  </a:lnTo>
                  <a:lnTo>
                    <a:pt x="431" y="459"/>
                  </a:lnTo>
                  <a:lnTo>
                    <a:pt x="431" y="465"/>
                  </a:lnTo>
                  <a:lnTo>
                    <a:pt x="425" y="465"/>
                  </a:lnTo>
                  <a:lnTo>
                    <a:pt x="425" y="459"/>
                  </a:lnTo>
                  <a:lnTo>
                    <a:pt x="425" y="453"/>
                  </a:lnTo>
                  <a:lnTo>
                    <a:pt x="420" y="453"/>
                  </a:lnTo>
                  <a:lnTo>
                    <a:pt x="420" y="448"/>
                  </a:lnTo>
                  <a:lnTo>
                    <a:pt x="414" y="442"/>
                  </a:lnTo>
                  <a:lnTo>
                    <a:pt x="408" y="442"/>
                  </a:lnTo>
                  <a:lnTo>
                    <a:pt x="403" y="442"/>
                  </a:lnTo>
                  <a:lnTo>
                    <a:pt x="397" y="442"/>
                  </a:lnTo>
                  <a:lnTo>
                    <a:pt x="391" y="442"/>
                  </a:lnTo>
                  <a:lnTo>
                    <a:pt x="386" y="442"/>
                  </a:lnTo>
                  <a:lnTo>
                    <a:pt x="386" y="448"/>
                  </a:lnTo>
                  <a:lnTo>
                    <a:pt x="386" y="453"/>
                  </a:lnTo>
                  <a:lnTo>
                    <a:pt x="380" y="459"/>
                  </a:lnTo>
                  <a:lnTo>
                    <a:pt x="374" y="465"/>
                  </a:lnTo>
                  <a:lnTo>
                    <a:pt x="374" y="470"/>
                  </a:lnTo>
                  <a:lnTo>
                    <a:pt x="380" y="476"/>
                  </a:lnTo>
                  <a:lnTo>
                    <a:pt x="386" y="476"/>
                  </a:lnTo>
                  <a:lnTo>
                    <a:pt x="391" y="482"/>
                  </a:lnTo>
                  <a:lnTo>
                    <a:pt x="397" y="487"/>
                  </a:lnTo>
                  <a:lnTo>
                    <a:pt x="397" y="499"/>
                  </a:lnTo>
                  <a:lnTo>
                    <a:pt x="397" y="510"/>
                  </a:lnTo>
                  <a:lnTo>
                    <a:pt x="397" y="516"/>
                  </a:lnTo>
                  <a:lnTo>
                    <a:pt x="403" y="516"/>
                  </a:lnTo>
                  <a:lnTo>
                    <a:pt x="403" y="521"/>
                  </a:lnTo>
                  <a:lnTo>
                    <a:pt x="403" y="527"/>
                  </a:lnTo>
                  <a:lnTo>
                    <a:pt x="408" y="527"/>
                  </a:lnTo>
                  <a:lnTo>
                    <a:pt x="414" y="533"/>
                  </a:lnTo>
                  <a:lnTo>
                    <a:pt x="414" y="538"/>
                  </a:lnTo>
                  <a:lnTo>
                    <a:pt x="420" y="538"/>
                  </a:lnTo>
                  <a:lnTo>
                    <a:pt x="420" y="544"/>
                  </a:lnTo>
                  <a:lnTo>
                    <a:pt x="425" y="550"/>
                  </a:lnTo>
                  <a:lnTo>
                    <a:pt x="431" y="550"/>
                  </a:lnTo>
                  <a:lnTo>
                    <a:pt x="431" y="555"/>
                  </a:lnTo>
                  <a:lnTo>
                    <a:pt x="442" y="555"/>
                  </a:lnTo>
                  <a:lnTo>
                    <a:pt x="442" y="561"/>
                  </a:lnTo>
                  <a:lnTo>
                    <a:pt x="442" y="567"/>
                  </a:lnTo>
                  <a:lnTo>
                    <a:pt x="437" y="572"/>
                  </a:lnTo>
                  <a:lnTo>
                    <a:pt x="437" y="578"/>
                  </a:lnTo>
                  <a:lnTo>
                    <a:pt x="431" y="584"/>
                  </a:lnTo>
                  <a:lnTo>
                    <a:pt x="431" y="589"/>
                  </a:lnTo>
                  <a:lnTo>
                    <a:pt x="425" y="595"/>
                  </a:lnTo>
                  <a:lnTo>
                    <a:pt x="425" y="601"/>
                  </a:lnTo>
                  <a:lnTo>
                    <a:pt x="420" y="606"/>
                  </a:lnTo>
                  <a:lnTo>
                    <a:pt x="414" y="606"/>
                  </a:lnTo>
                  <a:lnTo>
                    <a:pt x="408" y="612"/>
                  </a:lnTo>
                  <a:lnTo>
                    <a:pt x="403" y="612"/>
                  </a:lnTo>
                  <a:lnTo>
                    <a:pt x="403" y="618"/>
                  </a:lnTo>
                  <a:lnTo>
                    <a:pt x="397" y="618"/>
                  </a:lnTo>
                  <a:lnTo>
                    <a:pt x="397" y="623"/>
                  </a:lnTo>
                  <a:lnTo>
                    <a:pt x="391" y="623"/>
                  </a:lnTo>
                  <a:lnTo>
                    <a:pt x="391" y="629"/>
                  </a:lnTo>
                  <a:lnTo>
                    <a:pt x="386" y="635"/>
                  </a:lnTo>
                  <a:lnTo>
                    <a:pt x="380" y="635"/>
                  </a:lnTo>
                  <a:lnTo>
                    <a:pt x="380" y="640"/>
                  </a:lnTo>
                  <a:lnTo>
                    <a:pt x="374" y="640"/>
                  </a:lnTo>
                  <a:lnTo>
                    <a:pt x="369" y="640"/>
                  </a:lnTo>
                  <a:lnTo>
                    <a:pt x="363" y="646"/>
                  </a:lnTo>
                  <a:lnTo>
                    <a:pt x="357" y="646"/>
                  </a:lnTo>
                  <a:lnTo>
                    <a:pt x="357" y="652"/>
                  </a:lnTo>
                  <a:lnTo>
                    <a:pt x="352" y="652"/>
                  </a:lnTo>
                  <a:lnTo>
                    <a:pt x="346" y="652"/>
                  </a:lnTo>
                  <a:lnTo>
                    <a:pt x="340" y="652"/>
                  </a:lnTo>
                  <a:lnTo>
                    <a:pt x="335" y="657"/>
                  </a:lnTo>
                  <a:lnTo>
                    <a:pt x="329" y="657"/>
                  </a:lnTo>
                  <a:lnTo>
                    <a:pt x="323" y="652"/>
                  </a:lnTo>
                  <a:lnTo>
                    <a:pt x="318" y="652"/>
                  </a:lnTo>
                  <a:lnTo>
                    <a:pt x="318" y="640"/>
                  </a:lnTo>
                  <a:lnTo>
                    <a:pt x="312" y="640"/>
                  </a:lnTo>
                  <a:lnTo>
                    <a:pt x="312" y="635"/>
                  </a:lnTo>
                  <a:lnTo>
                    <a:pt x="312" y="629"/>
                  </a:lnTo>
                  <a:lnTo>
                    <a:pt x="318" y="623"/>
                  </a:lnTo>
                  <a:lnTo>
                    <a:pt x="323" y="618"/>
                  </a:lnTo>
                  <a:lnTo>
                    <a:pt x="323" y="612"/>
                  </a:lnTo>
                  <a:lnTo>
                    <a:pt x="323" y="606"/>
                  </a:lnTo>
                  <a:lnTo>
                    <a:pt x="318" y="606"/>
                  </a:lnTo>
                  <a:lnTo>
                    <a:pt x="312" y="601"/>
                  </a:lnTo>
                  <a:lnTo>
                    <a:pt x="306" y="595"/>
                  </a:lnTo>
                  <a:lnTo>
                    <a:pt x="301" y="595"/>
                  </a:lnTo>
                  <a:lnTo>
                    <a:pt x="295" y="589"/>
                  </a:lnTo>
                  <a:lnTo>
                    <a:pt x="295" y="584"/>
                  </a:lnTo>
                  <a:lnTo>
                    <a:pt x="289" y="584"/>
                  </a:lnTo>
                  <a:lnTo>
                    <a:pt x="289" y="578"/>
                  </a:lnTo>
                  <a:lnTo>
                    <a:pt x="278" y="572"/>
                  </a:lnTo>
                  <a:lnTo>
                    <a:pt x="272" y="567"/>
                  </a:lnTo>
                  <a:lnTo>
                    <a:pt x="267" y="567"/>
                  </a:lnTo>
                  <a:lnTo>
                    <a:pt x="261" y="567"/>
                  </a:lnTo>
                  <a:lnTo>
                    <a:pt x="261" y="561"/>
                  </a:lnTo>
                  <a:lnTo>
                    <a:pt x="255" y="561"/>
                  </a:lnTo>
                  <a:lnTo>
                    <a:pt x="250" y="555"/>
                  </a:lnTo>
                  <a:lnTo>
                    <a:pt x="244" y="555"/>
                  </a:lnTo>
                  <a:lnTo>
                    <a:pt x="244" y="550"/>
                  </a:lnTo>
                  <a:lnTo>
                    <a:pt x="233" y="544"/>
                  </a:lnTo>
                  <a:lnTo>
                    <a:pt x="227" y="544"/>
                  </a:lnTo>
                  <a:lnTo>
                    <a:pt x="227" y="550"/>
                  </a:lnTo>
                  <a:lnTo>
                    <a:pt x="221" y="550"/>
                  </a:lnTo>
                  <a:lnTo>
                    <a:pt x="216" y="555"/>
                  </a:lnTo>
                  <a:lnTo>
                    <a:pt x="210" y="555"/>
                  </a:lnTo>
                  <a:lnTo>
                    <a:pt x="204" y="555"/>
                  </a:lnTo>
                  <a:lnTo>
                    <a:pt x="204" y="561"/>
                  </a:lnTo>
                  <a:lnTo>
                    <a:pt x="199" y="561"/>
                  </a:lnTo>
                  <a:lnTo>
                    <a:pt x="199" y="567"/>
                  </a:lnTo>
                  <a:lnTo>
                    <a:pt x="193" y="567"/>
                  </a:lnTo>
                  <a:lnTo>
                    <a:pt x="187" y="567"/>
                  </a:lnTo>
                  <a:lnTo>
                    <a:pt x="182" y="567"/>
                  </a:lnTo>
                  <a:lnTo>
                    <a:pt x="176" y="561"/>
                  </a:lnTo>
                  <a:lnTo>
                    <a:pt x="176" y="555"/>
                  </a:lnTo>
                  <a:lnTo>
                    <a:pt x="165" y="555"/>
                  </a:lnTo>
                  <a:lnTo>
                    <a:pt x="159" y="561"/>
                  </a:lnTo>
                  <a:lnTo>
                    <a:pt x="159" y="555"/>
                  </a:lnTo>
                  <a:lnTo>
                    <a:pt x="153" y="555"/>
                  </a:lnTo>
                  <a:lnTo>
                    <a:pt x="148" y="555"/>
                  </a:lnTo>
                  <a:lnTo>
                    <a:pt x="148" y="561"/>
                  </a:lnTo>
                  <a:lnTo>
                    <a:pt x="142" y="561"/>
                  </a:lnTo>
                  <a:lnTo>
                    <a:pt x="136" y="561"/>
                  </a:lnTo>
                  <a:lnTo>
                    <a:pt x="136" y="555"/>
                  </a:lnTo>
                  <a:lnTo>
                    <a:pt x="131" y="555"/>
                  </a:lnTo>
                  <a:lnTo>
                    <a:pt x="125" y="555"/>
                  </a:lnTo>
                  <a:lnTo>
                    <a:pt x="119" y="555"/>
                  </a:lnTo>
                  <a:lnTo>
                    <a:pt x="114" y="555"/>
                  </a:lnTo>
                  <a:lnTo>
                    <a:pt x="114" y="561"/>
                  </a:lnTo>
                  <a:lnTo>
                    <a:pt x="114" y="567"/>
                  </a:lnTo>
                  <a:lnTo>
                    <a:pt x="119" y="567"/>
                  </a:lnTo>
                  <a:lnTo>
                    <a:pt x="119" y="572"/>
                  </a:lnTo>
                  <a:lnTo>
                    <a:pt x="119" y="578"/>
                  </a:lnTo>
                  <a:lnTo>
                    <a:pt x="119" y="584"/>
                  </a:lnTo>
                  <a:lnTo>
                    <a:pt x="114" y="584"/>
                  </a:lnTo>
                  <a:lnTo>
                    <a:pt x="108" y="584"/>
                  </a:lnTo>
                  <a:lnTo>
                    <a:pt x="102" y="589"/>
                  </a:lnTo>
                  <a:lnTo>
                    <a:pt x="102" y="595"/>
                  </a:lnTo>
                  <a:lnTo>
                    <a:pt x="97" y="595"/>
                  </a:lnTo>
                  <a:lnTo>
                    <a:pt x="91" y="595"/>
                  </a:lnTo>
                  <a:lnTo>
                    <a:pt x="85" y="589"/>
                  </a:lnTo>
                  <a:lnTo>
                    <a:pt x="85" y="584"/>
                  </a:lnTo>
                  <a:lnTo>
                    <a:pt x="80" y="584"/>
                  </a:lnTo>
                  <a:lnTo>
                    <a:pt x="80" y="578"/>
                  </a:lnTo>
                  <a:lnTo>
                    <a:pt x="80" y="572"/>
                  </a:lnTo>
                  <a:lnTo>
                    <a:pt x="80" y="567"/>
                  </a:lnTo>
                  <a:lnTo>
                    <a:pt x="80" y="555"/>
                  </a:lnTo>
                  <a:lnTo>
                    <a:pt x="85" y="555"/>
                  </a:lnTo>
                  <a:lnTo>
                    <a:pt x="85" y="550"/>
                  </a:lnTo>
                  <a:lnTo>
                    <a:pt x="80" y="544"/>
                  </a:lnTo>
                  <a:lnTo>
                    <a:pt x="74" y="544"/>
                  </a:lnTo>
                  <a:lnTo>
                    <a:pt x="74" y="538"/>
                  </a:lnTo>
                  <a:lnTo>
                    <a:pt x="74" y="533"/>
                  </a:lnTo>
                  <a:lnTo>
                    <a:pt x="68" y="527"/>
                  </a:lnTo>
                  <a:lnTo>
                    <a:pt x="63" y="527"/>
                  </a:lnTo>
                  <a:lnTo>
                    <a:pt x="63" y="521"/>
                  </a:lnTo>
                  <a:lnTo>
                    <a:pt x="57" y="521"/>
                  </a:lnTo>
                  <a:lnTo>
                    <a:pt x="57" y="516"/>
                  </a:lnTo>
                  <a:lnTo>
                    <a:pt x="51" y="516"/>
                  </a:lnTo>
                  <a:lnTo>
                    <a:pt x="46" y="510"/>
                  </a:lnTo>
                  <a:lnTo>
                    <a:pt x="40" y="51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4" name="Freeform 23"/>
            <p:cNvSpPr>
              <a:spLocks/>
            </p:cNvSpPr>
            <p:nvPr/>
          </p:nvSpPr>
          <p:spPr bwMode="gray">
            <a:xfrm>
              <a:off x="2305387" y="3882487"/>
              <a:ext cx="805340" cy="559110"/>
            </a:xfrm>
            <a:custGeom>
              <a:avLst/>
              <a:gdLst>
                <a:gd name="T0" fmla="*/ 2147483647 w 573"/>
                <a:gd name="T1" fmla="*/ 2147483647 h 419"/>
                <a:gd name="T2" fmla="*/ 2147483647 w 573"/>
                <a:gd name="T3" fmla="*/ 2147483647 h 419"/>
                <a:gd name="T4" fmla="*/ 2147483647 w 573"/>
                <a:gd name="T5" fmla="*/ 2147483647 h 419"/>
                <a:gd name="T6" fmla="*/ 2147483647 w 573"/>
                <a:gd name="T7" fmla="*/ 2147483647 h 419"/>
                <a:gd name="T8" fmla="*/ 2147483647 w 573"/>
                <a:gd name="T9" fmla="*/ 2147483647 h 419"/>
                <a:gd name="T10" fmla="*/ 2147483647 w 573"/>
                <a:gd name="T11" fmla="*/ 2147483647 h 419"/>
                <a:gd name="T12" fmla="*/ 2147483647 w 573"/>
                <a:gd name="T13" fmla="*/ 2147483647 h 419"/>
                <a:gd name="T14" fmla="*/ 2147483647 w 573"/>
                <a:gd name="T15" fmla="*/ 2147483647 h 419"/>
                <a:gd name="T16" fmla="*/ 2147483647 w 573"/>
                <a:gd name="T17" fmla="*/ 2147483647 h 419"/>
                <a:gd name="T18" fmla="*/ 2147483647 w 573"/>
                <a:gd name="T19" fmla="*/ 2147483647 h 419"/>
                <a:gd name="T20" fmla="*/ 2147483647 w 573"/>
                <a:gd name="T21" fmla="*/ 2147483647 h 419"/>
                <a:gd name="T22" fmla="*/ 0 w 573"/>
                <a:gd name="T23" fmla="*/ 2147483647 h 419"/>
                <a:gd name="T24" fmla="*/ 2147483647 w 573"/>
                <a:gd name="T25" fmla="*/ 2147483647 h 419"/>
                <a:gd name="T26" fmla="*/ 2147483647 w 573"/>
                <a:gd name="T27" fmla="*/ 2147483647 h 419"/>
                <a:gd name="T28" fmla="*/ 2147483647 w 573"/>
                <a:gd name="T29" fmla="*/ 2147483647 h 419"/>
                <a:gd name="T30" fmla="*/ 2147483647 w 573"/>
                <a:gd name="T31" fmla="*/ 2147483647 h 419"/>
                <a:gd name="T32" fmla="*/ 2147483647 w 573"/>
                <a:gd name="T33" fmla="*/ 2147483647 h 419"/>
                <a:gd name="T34" fmla="*/ 2147483647 w 573"/>
                <a:gd name="T35" fmla="*/ 2147483647 h 419"/>
                <a:gd name="T36" fmla="*/ 2147483647 w 573"/>
                <a:gd name="T37" fmla="*/ 2147483647 h 419"/>
                <a:gd name="T38" fmla="*/ 2147483647 w 573"/>
                <a:gd name="T39" fmla="*/ 0 h 419"/>
                <a:gd name="T40" fmla="*/ 2147483647 w 573"/>
                <a:gd name="T41" fmla="*/ 2147483647 h 419"/>
                <a:gd name="T42" fmla="*/ 2147483647 w 573"/>
                <a:gd name="T43" fmla="*/ 2147483647 h 419"/>
                <a:gd name="T44" fmla="*/ 2147483647 w 573"/>
                <a:gd name="T45" fmla="*/ 2147483647 h 419"/>
                <a:gd name="T46" fmla="*/ 2147483647 w 573"/>
                <a:gd name="T47" fmla="*/ 2147483647 h 419"/>
                <a:gd name="T48" fmla="*/ 2147483647 w 573"/>
                <a:gd name="T49" fmla="*/ 2147483647 h 419"/>
                <a:gd name="T50" fmla="*/ 2147483647 w 573"/>
                <a:gd name="T51" fmla="*/ 2147483647 h 419"/>
                <a:gd name="T52" fmla="*/ 2147483647 w 573"/>
                <a:gd name="T53" fmla="*/ 2147483647 h 419"/>
                <a:gd name="T54" fmla="*/ 2147483647 w 573"/>
                <a:gd name="T55" fmla="*/ 2147483647 h 419"/>
                <a:gd name="T56" fmla="*/ 2147483647 w 573"/>
                <a:gd name="T57" fmla="*/ 2147483647 h 419"/>
                <a:gd name="T58" fmla="*/ 2147483647 w 573"/>
                <a:gd name="T59" fmla="*/ 2147483647 h 419"/>
                <a:gd name="T60" fmla="*/ 2147483647 w 573"/>
                <a:gd name="T61" fmla="*/ 2147483647 h 419"/>
                <a:gd name="T62" fmla="*/ 2147483647 w 573"/>
                <a:gd name="T63" fmla="*/ 2147483647 h 419"/>
                <a:gd name="T64" fmla="*/ 2147483647 w 573"/>
                <a:gd name="T65" fmla="*/ 2147483647 h 419"/>
                <a:gd name="T66" fmla="*/ 2147483647 w 573"/>
                <a:gd name="T67" fmla="*/ 2147483647 h 419"/>
                <a:gd name="T68" fmla="*/ 2147483647 w 573"/>
                <a:gd name="T69" fmla="*/ 2147483647 h 419"/>
                <a:gd name="T70" fmla="*/ 2147483647 w 573"/>
                <a:gd name="T71" fmla="*/ 2147483647 h 419"/>
                <a:gd name="T72" fmla="*/ 2147483647 w 573"/>
                <a:gd name="T73" fmla="*/ 2147483647 h 419"/>
                <a:gd name="T74" fmla="*/ 2147483647 w 573"/>
                <a:gd name="T75" fmla="*/ 2147483647 h 419"/>
                <a:gd name="T76" fmla="*/ 2147483647 w 573"/>
                <a:gd name="T77" fmla="*/ 2147483647 h 419"/>
                <a:gd name="T78" fmla="*/ 2147483647 w 573"/>
                <a:gd name="T79" fmla="*/ 2147483647 h 419"/>
                <a:gd name="T80" fmla="*/ 2147483647 w 573"/>
                <a:gd name="T81" fmla="*/ 2147483647 h 419"/>
                <a:gd name="T82" fmla="*/ 2147483647 w 573"/>
                <a:gd name="T83" fmla="*/ 2147483647 h 419"/>
                <a:gd name="T84" fmla="*/ 2147483647 w 573"/>
                <a:gd name="T85" fmla="*/ 2147483647 h 419"/>
                <a:gd name="T86" fmla="*/ 2147483647 w 573"/>
                <a:gd name="T87" fmla="*/ 2147483647 h 419"/>
                <a:gd name="T88" fmla="*/ 2147483647 w 573"/>
                <a:gd name="T89" fmla="*/ 2147483647 h 419"/>
                <a:gd name="T90" fmla="*/ 2147483647 w 573"/>
                <a:gd name="T91" fmla="*/ 2147483647 h 419"/>
                <a:gd name="T92" fmla="*/ 2147483647 w 573"/>
                <a:gd name="T93" fmla="*/ 2147483647 h 419"/>
                <a:gd name="T94" fmla="*/ 2147483647 w 573"/>
                <a:gd name="T95" fmla="*/ 2147483647 h 419"/>
                <a:gd name="T96" fmla="*/ 2147483647 w 573"/>
                <a:gd name="T97" fmla="*/ 2147483647 h 419"/>
                <a:gd name="T98" fmla="*/ 2147483647 w 573"/>
                <a:gd name="T99" fmla="*/ 2147483647 h 419"/>
                <a:gd name="T100" fmla="*/ 2147483647 w 573"/>
                <a:gd name="T101" fmla="*/ 2147483647 h 419"/>
                <a:gd name="T102" fmla="*/ 2147483647 w 573"/>
                <a:gd name="T103" fmla="*/ 2147483647 h 419"/>
                <a:gd name="T104" fmla="*/ 2147483647 w 573"/>
                <a:gd name="T105" fmla="*/ 2147483647 h 419"/>
                <a:gd name="T106" fmla="*/ 2147483647 w 573"/>
                <a:gd name="T107" fmla="*/ 2147483647 h 419"/>
                <a:gd name="T108" fmla="*/ 2147483647 w 573"/>
                <a:gd name="T109" fmla="*/ 2147483647 h 419"/>
                <a:gd name="T110" fmla="*/ 2147483647 w 573"/>
                <a:gd name="T111" fmla="*/ 2147483647 h 419"/>
                <a:gd name="T112" fmla="*/ 2147483647 w 573"/>
                <a:gd name="T113" fmla="*/ 2147483647 h 419"/>
                <a:gd name="T114" fmla="*/ 2147483647 w 573"/>
                <a:gd name="T115" fmla="*/ 2147483647 h 419"/>
                <a:gd name="T116" fmla="*/ 2147483647 w 573"/>
                <a:gd name="T117" fmla="*/ 2147483647 h 419"/>
                <a:gd name="T118" fmla="*/ 2147483647 w 573"/>
                <a:gd name="T119" fmla="*/ 2147483647 h 41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73"/>
                <a:gd name="T181" fmla="*/ 0 h 419"/>
                <a:gd name="T182" fmla="*/ 573 w 573"/>
                <a:gd name="T183" fmla="*/ 419 h 41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73" h="419">
                  <a:moveTo>
                    <a:pt x="153" y="374"/>
                  </a:moveTo>
                  <a:lnTo>
                    <a:pt x="148" y="374"/>
                  </a:lnTo>
                  <a:lnTo>
                    <a:pt x="142" y="374"/>
                  </a:lnTo>
                  <a:lnTo>
                    <a:pt x="136" y="374"/>
                  </a:lnTo>
                  <a:lnTo>
                    <a:pt x="131" y="374"/>
                  </a:lnTo>
                  <a:lnTo>
                    <a:pt x="125" y="374"/>
                  </a:lnTo>
                  <a:lnTo>
                    <a:pt x="125" y="368"/>
                  </a:lnTo>
                  <a:lnTo>
                    <a:pt x="119" y="368"/>
                  </a:lnTo>
                  <a:lnTo>
                    <a:pt x="114" y="362"/>
                  </a:lnTo>
                  <a:lnTo>
                    <a:pt x="114" y="351"/>
                  </a:lnTo>
                  <a:lnTo>
                    <a:pt x="108" y="345"/>
                  </a:lnTo>
                  <a:lnTo>
                    <a:pt x="108" y="340"/>
                  </a:lnTo>
                  <a:lnTo>
                    <a:pt x="108" y="328"/>
                  </a:lnTo>
                  <a:lnTo>
                    <a:pt x="108" y="323"/>
                  </a:lnTo>
                  <a:lnTo>
                    <a:pt x="102" y="323"/>
                  </a:lnTo>
                  <a:lnTo>
                    <a:pt x="97" y="323"/>
                  </a:lnTo>
                  <a:lnTo>
                    <a:pt x="97" y="317"/>
                  </a:lnTo>
                  <a:lnTo>
                    <a:pt x="97" y="311"/>
                  </a:lnTo>
                  <a:lnTo>
                    <a:pt x="97" y="306"/>
                  </a:lnTo>
                  <a:lnTo>
                    <a:pt x="91" y="306"/>
                  </a:lnTo>
                  <a:lnTo>
                    <a:pt x="85" y="306"/>
                  </a:lnTo>
                  <a:lnTo>
                    <a:pt x="80" y="306"/>
                  </a:lnTo>
                  <a:lnTo>
                    <a:pt x="80" y="300"/>
                  </a:lnTo>
                  <a:lnTo>
                    <a:pt x="80" y="294"/>
                  </a:lnTo>
                  <a:lnTo>
                    <a:pt x="80" y="289"/>
                  </a:lnTo>
                  <a:lnTo>
                    <a:pt x="85" y="283"/>
                  </a:lnTo>
                  <a:lnTo>
                    <a:pt x="85" y="277"/>
                  </a:lnTo>
                  <a:lnTo>
                    <a:pt x="80" y="277"/>
                  </a:lnTo>
                  <a:lnTo>
                    <a:pt x="80" y="266"/>
                  </a:lnTo>
                  <a:lnTo>
                    <a:pt x="80" y="260"/>
                  </a:lnTo>
                  <a:lnTo>
                    <a:pt x="74" y="255"/>
                  </a:lnTo>
                  <a:lnTo>
                    <a:pt x="68" y="255"/>
                  </a:lnTo>
                  <a:lnTo>
                    <a:pt x="68" y="249"/>
                  </a:lnTo>
                  <a:lnTo>
                    <a:pt x="63" y="249"/>
                  </a:lnTo>
                  <a:lnTo>
                    <a:pt x="57" y="243"/>
                  </a:lnTo>
                  <a:lnTo>
                    <a:pt x="57" y="238"/>
                  </a:lnTo>
                  <a:lnTo>
                    <a:pt x="51" y="238"/>
                  </a:lnTo>
                  <a:lnTo>
                    <a:pt x="46" y="238"/>
                  </a:lnTo>
                  <a:lnTo>
                    <a:pt x="40" y="238"/>
                  </a:lnTo>
                  <a:lnTo>
                    <a:pt x="40" y="232"/>
                  </a:lnTo>
                  <a:lnTo>
                    <a:pt x="40" y="226"/>
                  </a:lnTo>
                  <a:lnTo>
                    <a:pt x="40" y="221"/>
                  </a:lnTo>
                  <a:lnTo>
                    <a:pt x="46" y="221"/>
                  </a:lnTo>
                  <a:lnTo>
                    <a:pt x="40" y="215"/>
                  </a:lnTo>
                  <a:lnTo>
                    <a:pt x="40" y="209"/>
                  </a:lnTo>
                  <a:lnTo>
                    <a:pt x="46" y="204"/>
                  </a:lnTo>
                  <a:lnTo>
                    <a:pt x="46" y="198"/>
                  </a:lnTo>
                  <a:lnTo>
                    <a:pt x="51" y="192"/>
                  </a:lnTo>
                  <a:lnTo>
                    <a:pt x="57" y="187"/>
                  </a:lnTo>
                  <a:lnTo>
                    <a:pt x="63" y="187"/>
                  </a:lnTo>
                  <a:lnTo>
                    <a:pt x="63" y="181"/>
                  </a:lnTo>
                  <a:lnTo>
                    <a:pt x="68" y="181"/>
                  </a:lnTo>
                  <a:lnTo>
                    <a:pt x="68" y="175"/>
                  </a:lnTo>
                  <a:lnTo>
                    <a:pt x="68" y="170"/>
                  </a:lnTo>
                  <a:lnTo>
                    <a:pt x="74" y="164"/>
                  </a:lnTo>
                  <a:lnTo>
                    <a:pt x="74" y="158"/>
                  </a:lnTo>
                  <a:lnTo>
                    <a:pt x="68" y="153"/>
                  </a:lnTo>
                  <a:lnTo>
                    <a:pt x="63" y="153"/>
                  </a:lnTo>
                  <a:lnTo>
                    <a:pt x="57" y="147"/>
                  </a:lnTo>
                  <a:lnTo>
                    <a:pt x="51" y="147"/>
                  </a:lnTo>
                  <a:lnTo>
                    <a:pt x="46" y="147"/>
                  </a:lnTo>
                  <a:lnTo>
                    <a:pt x="40" y="141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6"/>
                  </a:lnTo>
                  <a:lnTo>
                    <a:pt x="17" y="136"/>
                  </a:lnTo>
                  <a:lnTo>
                    <a:pt x="12" y="136"/>
                  </a:lnTo>
                  <a:lnTo>
                    <a:pt x="12" y="141"/>
                  </a:lnTo>
                  <a:lnTo>
                    <a:pt x="6" y="141"/>
                  </a:lnTo>
                  <a:lnTo>
                    <a:pt x="0" y="141"/>
                  </a:lnTo>
                  <a:lnTo>
                    <a:pt x="0" y="136"/>
                  </a:lnTo>
                  <a:lnTo>
                    <a:pt x="0" y="130"/>
                  </a:lnTo>
                  <a:lnTo>
                    <a:pt x="0" y="124"/>
                  </a:lnTo>
                  <a:lnTo>
                    <a:pt x="0" y="119"/>
                  </a:lnTo>
                  <a:lnTo>
                    <a:pt x="0" y="113"/>
                  </a:lnTo>
                  <a:lnTo>
                    <a:pt x="6" y="113"/>
                  </a:lnTo>
                  <a:lnTo>
                    <a:pt x="6" y="107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2" y="85"/>
                  </a:lnTo>
                  <a:lnTo>
                    <a:pt x="17" y="85"/>
                  </a:lnTo>
                  <a:lnTo>
                    <a:pt x="23" y="90"/>
                  </a:lnTo>
                  <a:lnTo>
                    <a:pt x="23" y="96"/>
                  </a:lnTo>
                  <a:lnTo>
                    <a:pt x="23" y="102"/>
                  </a:lnTo>
                  <a:lnTo>
                    <a:pt x="29" y="102"/>
                  </a:lnTo>
                  <a:lnTo>
                    <a:pt x="29" y="107"/>
                  </a:lnTo>
                  <a:lnTo>
                    <a:pt x="29" y="113"/>
                  </a:lnTo>
                  <a:lnTo>
                    <a:pt x="34" y="113"/>
                  </a:lnTo>
                  <a:lnTo>
                    <a:pt x="40" y="113"/>
                  </a:lnTo>
                  <a:lnTo>
                    <a:pt x="46" y="113"/>
                  </a:lnTo>
                  <a:lnTo>
                    <a:pt x="51" y="107"/>
                  </a:lnTo>
                  <a:lnTo>
                    <a:pt x="57" y="102"/>
                  </a:lnTo>
                  <a:lnTo>
                    <a:pt x="63" y="96"/>
                  </a:lnTo>
                  <a:lnTo>
                    <a:pt x="68" y="96"/>
                  </a:lnTo>
                  <a:lnTo>
                    <a:pt x="68" y="90"/>
                  </a:lnTo>
                  <a:lnTo>
                    <a:pt x="80" y="85"/>
                  </a:lnTo>
                  <a:lnTo>
                    <a:pt x="85" y="79"/>
                  </a:lnTo>
                  <a:lnTo>
                    <a:pt x="91" y="73"/>
                  </a:lnTo>
                  <a:lnTo>
                    <a:pt x="97" y="73"/>
                  </a:lnTo>
                  <a:lnTo>
                    <a:pt x="97" y="62"/>
                  </a:lnTo>
                  <a:lnTo>
                    <a:pt x="102" y="62"/>
                  </a:lnTo>
                  <a:lnTo>
                    <a:pt x="108" y="56"/>
                  </a:lnTo>
                  <a:lnTo>
                    <a:pt x="114" y="56"/>
                  </a:lnTo>
                  <a:lnTo>
                    <a:pt x="114" y="51"/>
                  </a:lnTo>
                  <a:lnTo>
                    <a:pt x="125" y="45"/>
                  </a:lnTo>
                  <a:lnTo>
                    <a:pt x="125" y="39"/>
                  </a:lnTo>
                  <a:lnTo>
                    <a:pt x="125" y="34"/>
                  </a:lnTo>
                  <a:lnTo>
                    <a:pt x="131" y="34"/>
                  </a:lnTo>
                  <a:lnTo>
                    <a:pt x="136" y="28"/>
                  </a:lnTo>
                  <a:lnTo>
                    <a:pt x="142" y="28"/>
                  </a:lnTo>
                  <a:lnTo>
                    <a:pt x="142" y="22"/>
                  </a:lnTo>
                  <a:lnTo>
                    <a:pt x="148" y="17"/>
                  </a:lnTo>
                  <a:lnTo>
                    <a:pt x="153" y="17"/>
                  </a:lnTo>
                  <a:lnTo>
                    <a:pt x="153" y="11"/>
                  </a:lnTo>
                  <a:lnTo>
                    <a:pt x="159" y="11"/>
                  </a:lnTo>
                  <a:lnTo>
                    <a:pt x="159" y="5"/>
                  </a:lnTo>
                  <a:lnTo>
                    <a:pt x="165" y="5"/>
                  </a:lnTo>
                  <a:lnTo>
                    <a:pt x="165" y="0"/>
                  </a:lnTo>
                  <a:lnTo>
                    <a:pt x="171" y="0"/>
                  </a:lnTo>
                  <a:lnTo>
                    <a:pt x="182" y="0"/>
                  </a:lnTo>
                  <a:lnTo>
                    <a:pt x="188" y="0"/>
                  </a:lnTo>
                  <a:lnTo>
                    <a:pt x="193" y="0"/>
                  </a:lnTo>
                  <a:lnTo>
                    <a:pt x="199" y="0"/>
                  </a:lnTo>
                  <a:lnTo>
                    <a:pt x="205" y="5"/>
                  </a:lnTo>
                  <a:lnTo>
                    <a:pt x="210" y="11"/>
                  </a:lnTo>
                  <a:lnTo>
                    <a:pt x="216" y="22"/>
                  </a:lnTo>
                  <a:lnTo>
                    <a:pt x="222" y="28"/>
                  </a:lnTo>
                  <a:lnTo>
                    <a:pt x="222" y="34"/>
                  </a:lnTo>
                  <a:lnTo>
                    <a:pt x="222" y="39"/>
                  </a:lnTo>
                  <a:lnTo>
                    <a:pt x="222" y="45"/>
                  </a:lnTo>
                  <a:lnTo>
                    <a:pt x="227" y="45"/>
                  </a:lnTo>
                  <a:lnTo>
                    <a:pt x="233" y="51"/>
                  </a:lnTo>
                  <a:lnTo>
                    <a:pt x="233" y="56"/>
                  </a:lnTo>
                  <a:lnTo>
                    <a:pt x="239" y="56"/>
                  </a:lnTo>
                  <a:lnTo>
                    <a:pt x="239" y="62"/>
                  </a:lnTo>
                  <a:lnTo>
                    <a:pt x="244" y="62"/>
                  </a:lnTo>
                  <a:lnTo>
                    <a:pt x="250" y="68"/>
                  </a:lnTo>
                  <a:lnTo>
                    <a:pt x="250" y="73"/>
                  </a:lnTo>
                  <a:lnTo>
                    <a:pt x="256" y="79"/>
                  </a:lnTo>
                  <a:lnTo>
                    <a:pt x="261" y="85"/>
                  </a:lnTo>
                  <a:lnTo>
                    <a:pt x="267" y="90"/>
                  </a:lnTo>
                  <a:lnTo>
                    <a:pt x="273" y="90"/>
                  </a:lnTo>
                  <a:lnTo>
                    <a:pt x="284" y="90"/>
                  </a:lnTo>
                  <a:lnTo>
                    <a:pt x="290" y="90"/>
                  </a:lnTo>
                  <a:lnTo>
                    <a:pt x="290" y="85"/>
                  </a:lnTo>
                  <a:lnTo>
                    <a:pt x="295" y="85"/>
                  </a:lnTo>
                  <a:lnTo>
                    <a:pt x="301" y="85"/>
                  </a:lnTo>
                  <a:lnTo>
                    <a:pt x="307" y="79"/>
                  </a:lnTo>
                  <a:lnTo>
                    <a:pt x="312" y="79"/>
                  </a:lnTo>
                  <a:lnTo>
                    <a:pt x="318" y="79"/>
                  </a:lnTo>
                  <a:lnTo>
                    <a:pt x="324" y="79"/>
                  </a:lnTo>
                  <a:lnTo>
                    <a:pt x="324" y="85"/>
                  </a:lnTo>
                  <a:lnTo>
                    <a:pt x="329" y="90"/>
                  </a:lnTo>
                  <a:lnTo>
                    <a:pt x="335" y="90"/>
                  </a:lnTo>
                  <a:lnTo>
                    <a:pt x="335" y="96"/>
                  </a:lnTo>
                  <a:lnTo>
                    <a:pt x="341" y="102"/>
                  </a:lnTo>
                  <a:lnTo>
                    <a:pt x="346" y="113"/>
                  </a:lnTo>
                  <a:lnTo>
                    <a:pt x="346" y="119"/>
                  </a:lnTo>
                  <a:lnTo>
                    <a:pt x="346" y="124"/>
                  </a:lnTo>
                  <a:lnTo>
                    <a:pt x="346" y="130"/>
                  </a:lnTo>
                  <a:lnTo>
                    <a:pt x="346" y="136"/>
                  </a:lnTo>
                  <a:lnTo>
                    <a:pt x="341" y="141"/>
                  </a:lnTo>
                  <a:lnTo>
                    <a:pt x="335" y="147"/>
                  </a:lnTo>
                  <a:lnTo>
                    <a:pt x="335" y="153"/>
                  </a:lnTo>
                  <a:lnTo>
                    <a:pt x="335" y="158"/>
                  </a:lnTo>
                  <a:lnTo>
                    <a:pt x="329" y="158"/>
                  </a:lnTo>
                  <a:lnTo>
                    <a:pt x="329" y="170"/>
                  </a:lnTo>
                  <a:lnTo>
                    <a:pt x="329" y="175"/>
                  </a:lnTo>
                  <a:lnTo>
                    <a:pt x="335" y="181"/>
                  </a:lnTo>
                  <a:lnTo>
                    <a:pt x="335" y="187"/>
                  </a:lnTo>
                  <a:lnTo>
                    <a:pt x="341" y="187"/>
                  </a:lnTo>
                  <a:lnTo>
                    <a:pt x="346" y="192"/>
                  </a:lnTo>
                  <a:lnTo>
                    <a:pt x="352" y="198"/>
                  </a:lnTo>
                  <a:lnTo>
                    <a:pt x="358" y="204"/>
                  </a:lnTo>
                  <a:lnTo>
                    <a:pt x="363" y="204"/>
                  </a:lnTo>
                  <a:lnTo>
                    <a:pt x="363" y="209"/>
                  </a:lnTo>
                  <a:lnTo>
                    <a:pt x="369" y="209"/>
                  </a:lnTo>
                  <a:lnTo>
                    <a:pt x="375" y="209"/>
                  </a:lnTo>
                  <a:lnTo>
                    <a:pt x="375" y="204"/>
                  </a:lnTo>
                  <a:lnTo>
                    <a:pt x="380" y="198"/>
                  </a:lnTo>
                  <a:lnTo>
                    <a:pt x="380" y="192"/>
                  </a:lnTo>
                  <a:lnTo>
                    <a:pt x="380" y="187"/>
                  </a:lnTo>
                  <a:lnTo>
                    <a:pt x="380" y="181"/>
                  </a:lnTo>
                  <a:lnTo>
                    <a:pt x="380" y="170"/>
                  </a:lnTo>
                  <a:lnTo>
                    <a:pt x="380" y="158"/>
                  </a:lnTo>
                  <a:lnTo>
                    <a:pt x="386" y="153"/>
                  </a:lnTo>
                  <a:lnTo>
                    <a:pt x="386" y="147"/>
                  </a:lnTo>
                  <a:lnTo>
                    <a:pt x="392" y="141"/>
                  </a:lnTo>
                  <a:lnTo>
                    <a:pt x="397" y="141"/>
                  </a:lnTo>
                  <a:lnTo>
                    <a:pt x="403" y="141"/>
                  </a:lnTo>
                  <a:lnTo>
                    <a:pt x="409" y="141"/>
                  </a:lnTo>
                  <a:lnTo>
                    <a:pt x="420" y="141"/>
                  </a:lnTo>
                  <a:lnTo>
                    <a:pt x="431" y="136"/>
                  </a:lnTo>
                  <a:lnTo>
                    <a:pt x="437" y="130"/>
                  </a:lnTo>
                  <a:lnTo>
                    <a:pt x="448" y="124"/>
                  </a:lnTo>
                  <a:lnTo>
                    <a:pt x="454" y="124"/>
                  </a:lnTo>
                  <a:lnTo>
                    <a:pt x="460" y="124"/>
                  </a:lnTo>
                  <a:lnTo>
                    <a:pt x="460" y="119"/>
                  </a:lnTo>
                  <a:lnTo>
                    <a:pt x="465" y="119"/>
                  </a:lnTo>
                  <a:lnTo>
                    <a:pt x="471" y="119"/>
                  </a:lnTo>
                  <a:lnTo>
                    <a:pt x="477" y="119"/>
                  </a:lnTo>
                  <a:lnTo>
                    <a:pt x="477" y="124"/>
                  </a:lnTo>
                  <a:lnTo>
                    <a:pt x="482" y="124"/>
                  </a:lnTo>
                  <a:lnTo>
                    <a:pt x="482" y="130"/>
                  </a:lnTo>
                  <a:lnTo>
                    <a:pt x="488" y="130"/>
                  </a:lnTo>
                  <a:lnTo>
                    <a:pt x="488" y="141"/>
                  </a:lnTo>
                  <a:lnTo>
                    <a:pt x="494" y="141"/>
                  </a:lnTo>
                  <a:lnTo>
                    <a:pt x="499" y="147"/>
                  </a:lnTo>
                  <a:lnTo>
                    <a:pt x="499" y="153"/>
                  </a:lnTo>
                  <a:lnTo>
                    <a:pt x="499" y="158"/>
                  </a:lnTo>
                  <a:lnTo>
                    <a:pt x="505" y="158"/>
                  </a:lnTo>
                  <a:lnTo>
                    <a:pt x="505" y="164"/>
                  </a:lnTo>
                  <a:lnTo>
                    <a:pt x="505" y="170"/>
                  </a:lnTo>
                  <a:lnTo>
                    <a:pt x="511" y="175"/>
                  </a:lnTo>
                  <a:lnTo>
                    <a:pt x="516" y="181"/>
                  </a:lnTo>
                  <a:lnTo>
                    <a:pt x="516" y="187"/>
                  </a:lnTo>
                  <a:lnTo>
                    <a:pt x="533" y="198"/>
                  </a:lnTo>
                  <a:lnTo>
                    <a:pt x="533" y="204"/>
                  </a:lnTo>
                  <a:lnTo>
                    <a:pt x="539" y="209"/>
                  </a:lnTo>
                  <a:lnTo>
                    <a:pt x="545" y="215"/>
                  </a:lnTo>
                  <a:lnTo>
                    <a:pt x="545" y="221"/>
                  </a:lnTo>
                  <a:lnTo>
                    <a:pt x="545" y="226"/>
                  </a:lnTo>
                  <a:lnTo>
                    <a:pt x="545" y="232"/>
                  </a:lnTo>
                  <a:lnTo>
                    <a:pt x="550" y="232"/>
                  </a:lnTo>
                  <a:lnTo>
                    <a:pt x="550" y="238"/>
                  </a:lnTo>
                  <a:lnTo>
                    <a:pt x="556" y="238"/>
                  </a:lnTo>
                  <a:lnTo>
                    <a:pt x="556" y="243"/>
                  </a:lnTo>
                  <a:lnTo>
                    <a:pt x="556" y="249"/>
                  </a:lnTo>
                  <a:lnTo>
                    <a:pt x="556" y="255"/>
                  </a:lnTo>
                  <a:lnTo>
                    <a:pt x="562" y="255"/>
                  </a:lnTo>
                  <a:lnTo>
                    <a:pt x="562" y="260"/>
                  </a:lnTo>
                  <a:lnTo>
                    <a:pt x="567" y="260"/>
                  </a:lnTo>
                  <a:lnTo>
                    <a:pt x="567" y="266"/>
                  </a:lnTo>
                  <a:lnTo>
                    <a:pt x="573" y="266"/>
                  </a:lnTo>
                  <a:lnTo>
                    <a:pt x="573" y="272"/>
                  </a:lnTo>
                  <a:lnTo>
                    <a:pt x="573" y="277"/>
                  </a:lnTo>
                  <a:lnTo>
                    <a:pt x="567" y="283"/>
                  </a:lnTo>
                  <a:lnTo>
                    <a:pt x="562" y="283"/>
                  </a:lnTo>
                  <a:lnTo>
                    <a:pt x="556" y="283"/>
                  </a:lnTo>
                  <a:lnTo>
                    <a:pt x="550" y="283"/>
                  </a:lnTo>
                  <a:lnTo>
                    <a:pt x="545" y="283"/>
                  </a:lnTo>
                  <a:lnTo>
                    <a:pt x="539" y="283"/>
                  </a:lnTo>
                  <a:lnTo>
                    <a:pt x="533" y="289"/>
                  </a:lnTo>
                  <a:lnTo>
                    <a:pt x="533" y="294"/>
                  </a:lnTo>
                  <a:lnTo>
                    <a:pt x="528" y="294"/>
                  </a:lnTo>
                  <a:lnTo>
                    <a:pt x="528" y="300"/>
                  </a:lnTo>
                  <a:lnTo>
                    <a:pt x="528" y="306"/>
                  </a:lnTo>
                  <a:lnTo>
                    <a:pt x="522" y="306"/>
                  </a:lnTo>
                  <a:lnTo>
                    <a:pt x="522" y="311"/>
                  </a:lnTo>
                  <a:lnTo>
                    <a:pt x="516" y="311"/>
                  </a:lnTo>
                  <a:lnTo>
                    <a:pt x="516" y="317"/>
                  </a:lnTo>
                  <a:lnTo>
                    <a:pt x="511" y="317"/>
                  </a:lnTo>
                  <a:lnTo>
                    <a:pt x="505" y="323"/>
                  </a:lnTo>
                  <a:lnTo>
                    <a:pt x="499" y="328"/>
                  </a:lnTo>
                  <a:lnTo>
                    <a:pt x="499" y="334"/>
                  </a:lnTo>
                  <a:lnTo>
                    <a:pt x="494" y="334"/>
                  </a:lnTo>
                  <a:lnTo>
                    <a:pt x="488" y="340"/>
                  </a:lnTo>
                  <a:lnTo>
                    <a:pt x="488" y="345"/>
                  </a:lnTo>
                  <a:lnTo>
                    <a:pt x="488" y="351"/>
                  </a:lnTo>
                  <a:lnTo>
                    <a:pt x="488" y="357"/>
                  </a:lnTo>
                  <a:lnTo>
                    <a:pt x="494" y="362"/>
                  </a:lnTo>
                  <a:lnTo>
                    <a:pt x="494" y="368"/>
                  </a:lnTo>
                  <a:lnTo>
                    <a:pt x="494" y="374"/>
                  </a:lnTo>
                  <a:lnTo>
                    <a:pt x="494" y="379"/>
                  </a:lnTo>
                  <a:lnTo>
                    <a:pt x="488" y="379"/>
                  </a:lnTo>
                  <a:lnTo>
                    <a:pt x="488" y="385"/>
                  </a:lnTo>
                  <a:lnTo>
                    <a:pt x="488" y="391"/>
                  </a:lnTo>
                  <a:lnTo>
                    <a:pt x="477" y="385"/>
                  </a:lnTo>
                  <a:lnTo>
                    <a:pt x="477" y="379"/>
                  </a:lnTo>
                  <a:lnTo>
                    <a:pt x="471" y="379"/>
                  </a:lnTo>
                  <a:lnTo>
                    <a:pt x="465" y="385"/>
                  </a:lnTo>
                  <a:lnTo>
                    <a:pt x="460" y="391"/>
                  </a:lnTo>
                  <a:lnTo>
                    <a:pt x="448" y="396"/>
                  </a:lnTo>
                  <a:lnTo>
                    <a:pt x="448" y="402"/>
                  </a:lnTo>
                  <a:lnTo>
                    <a:pt x="443" y="402"/>
                  </a:lnTo>
                  <a:lnTo>
                    <a:pt x="443" y="408"/>
                  </a:lnTo>
                  <a:lnTo>
                    <a:pt x="437" y="408"/>
                  </a:lnTo>
                  <a:lnTo>
                    <a:pt x="431" y="408"/>
                  </a:lnTo>
                  <a:lnTo>
                    <a:pt x="426" y="408"/>
                  </a:lnTo>
                  <a:lnTo>
                    <a:pt x="420" y="402"/>
                  </a:lnTo>
                  <a:lnTo>
                    <a:pt x="414" y="391"/>
                  </a:lnTo>
                  <a:lnTo>
                    <a:pt x="409" y="391"/>
                  </a:lnTo>
                  <a:lnTo>
                    <a:pt x="409" y="385"/>
                  </a:lnTo>
                  <a:lnTo>
                    <a:pt x="403" y="385"/>
                  </a:lnTo>
                  <a:lnTo>
                    <a:pt x="397" y="385"/>
                  </a:lnTo>
                  <a:lnTo>
                    <a:pt x="392" y="391"/>
                  </a:lnTo>
                  <a:lnTo>
                    <a:pt x="392" y="379"/>
                  </a:lnTo>
                  <a:lnTo>
                    <a:pt x="386" y="379"/>
                  </a:lnTo>
                  <a:lnTo>
                    <a:pt x="380" y="374"/>
                  </a:lnTo>
                  <a:lnTo>
                    <a:pt x="380" y="368"/>
                  </a:lnTo>
                  <a:lnTo>
                    <a:pt x="375" y="368"/>
                  </a:lnTo>
                  <a:lnTo>
                    <a:pt x="375" y="362"/>
                  </a:lnTo>
                  <a:lnTo>
                    <a:pt x="369" y="362"/>
                  </a:lnTo>
                  <a:lnTo>
                    <a:pt x="369" y="357"/>
                  </a:lnTo>
                  <a:lnTo>
                    <a:pt x="363" y="357"/>
                  </a:lnTo>
                  <a:lnTo>
                    <a:pt x="363" y="351"/>
                  </a:lnTo>
                  <a:lnTo>
                    <a:pt x="358" y="351"/>
                  </a:lnTo>
                  <a:lnTo>
                    <a:pt x="358" y="345"/>
                  </a:lnTo>
                  <a:lnTo>
                    <a:pt x="358" y="340"/>
                  </a:lnTo>
                  <a:lnTo>
                    <a:pt x="352" y="340"/>
                  </a:lnTo>
                  <a:lnTo>
                    <a:pt x="352" y="334"/>
                  </a:lnTo>
                  <a:lnTo>
                    <a:pt x="352" y="328"/>
                  </a:lnTo>
                  <a:lnTo>
                    <a:pt x="352" y="323"/>
                  </a:lnTo>
                  <a:lnTo>
                    <a:pt x="346" y="323"/>
                  </a:lnTo>
                  <a:lnTo>
                    <a:pt x="335" y="323"/>
                  </a:lnTo>
                  <a:lnTo>
                    <a:pt x="335" y="317"/>
                  </a:lnTo>
                  <a:lnTo>
                    <a:pt x="329" y="317"/>
                  </a:lnTo>
                  <a:lnTo>
                    <a:pt x="329" y="311"/>
                  </a:lnTo>
                  <a:lnTo>
                    <a:pt x="324" y="311"/>
                  </a:lnTo>
                  <a:lnTo>
                    <a:pt x="318" y="306"/>
                  </a:lnTo>
                  <a:lnTo>
                    <a:pt x="312" y="306"/>
                  </a:lnTo>
                  <a:lnTo>
                    <a:pt x="307" y="300"/>
                  </a:lnTo>
                  <a:lnTo>
                    <a:pt x="301" y="300"/>
                  </a:lnTo>
                  <a:lnTo>
                    <a:pt x="295" y="300"/>
                  </a:lnTo>
                  <a:lnTo>
                    <a:pt x="295" y="306"/>
                  </a:lnTo>
                  <a:lnTo>
                    <a:pt x="290" y="306"/>
                  </a:lnTo>
                  <a:lnTo>
                    <a:pt x="290" y="311"/>
                  </a:lnTo>
                  <a:lnTo>
                    <a:pt x="290" y="317"/>
                  </a:lnTo>
                  <a:lnTo>
                    <a:pt x="295" y="334"/>
                  </a:lnTo>
                  <a:lnTo>
                    <a:pt x="295" y="340"/>
                  </a:lnTo>
                  <a:lnTo>
                    <a:pt x="295" y="351"/>
                  </a:lnTo>
                  <a:lnTo>
                    <a:pt x="295" y="357"/>
                  </a:lnTo>
                  <a:lnTo>
                    <a:pt x="290" y="362"/>
                  </a:lnTo>
                  <a:lnTo>
                    <a:pt x="290" y="368"/>
                  </a:lnTo>
                  <a:lnTo>
                    <a:pt x="278" y="374"/>
                  </a:lnTo>
                  <a:lnTo>
                    <a:pt x="278" y="379"/>
                  </a:lnTo>
                  <a:lnTo>
                    <a:pt x="273" y="379"/>
                  </a:lnTo>
                  <a:lnTo>
                    <a:pt x="273" y="385"/>
                  </a:lnTo>
                  <a:lnTo>
                    <a:pt x="273" y="391"/>
                  </a:lnTo>
                  <a:lnTo>
                    <a:pt x="278" y="391"/>
                  </a:lnTo>
                  <a:lnTo>
                    <a:pt x="278" y="396"/>
                  </a:lnTo>
                  <a:lnTo>
                    <a:pt x="278" y="402"/>
                  </a:lnTo>
                  <a:lnTo>
                    <a:pt x="278" y="408"/>
                  </a:lnTo>
                  <a:lnTo>
                    <a:pt x="278" y="413"/>
                  </a:lnTo>
                  <a:lnTo>
                    <a:pt x="278" y="419"/>
                  </a:lnTo>
                  <a:lnTo>
                    <a:pt x="273" y="419"/>
                  </a:lnTo>
                  <a:lnTo>
                    <a:pt x="267" y="419"/>
                  </a:lnTo>
                  <a:lnTo>
                    <a:pt x="267" y="413"/>
                  </a:lnTo>
                  <a:lnTo>
                    <a:pt x="261" y="408"/>
                  </a:lnTo>
                  <a:lnTo>
                    <a:pt x="250" y="402"/>
                  </a:lnTo>
                  <a:lnTo>
                    <a:pt x="239" y="396"/>
                  </a:lnTo>
                  <a:lnTo>
                    <a:pt x="233" y="396"/>
                  </a:lnTo>
                  <a:lnTo>
                    <a:pt x="227" y="396"/>
                  </a:lnTo>
                  <a:lnTo>
                    <a:pt x="222" y="396"/>
                  </a:lnTo>
                  <a:lnTo>
                    <a:pt x="222" y="391"/>
                  </a:lnTo>
                  <a:lnTo>
                    <a:pt x="216" y="391"/>
                  </a:lnTo>
                  <a:lnTo>
                    <a:pt x="210" y="391"/>
                  </a:lnTo>
                  <a:lnTo>
                    <a:pt x="210" y="385"/>
                  </a:lnTo>
                  <a:lnTo>
                    <a:pt x="205" y="385"/>
                  </a:lnTo>
                  <a:lnTo>
                    <a:pt x="193" y="385"/>
                  </a:lnTo>
                  <a:lnTo>
                    <a:pt x="193" y="379"/>
                  </a:lnTo>
                  <a:lnTo>
                    <a:pt x="188" y="385"/>
                  </a:lnTo>
                  <a:lnTo>
                    <a:pt x="182" y="385"/>
                  </a:lnTo>
                  <a:lnTo>
                    <a:pt x="176" y="391"/>
                  </a:lnTo>
                  <a:lnTo>
                    <a:pt x="171" y="391"/>
                  </a:lnTo>
                  <a:lnTo>
                    <a:pt x="171" y="385"/>
                  </a:lnTo>
                  <a:lnTo>
                    <a:pt x="165" y="379"/>
                  </a:lnTo>
                  <a:lnTo>
                    <a:pt x="165" y="374"/>
                  </a:lnTo>
                  <a:lnTo>
                    <a:pt x="159" y="374"/>
                  </a:lnTo>
                  <a:lnTo>
                    <a:pt x="153" y="3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5" name="Freeform 24"/>
            <p:cNvSpPr>
              <a:spLocks/>
            </p:cNvSpPr>
            <p:nvPr/>
          </p:nvSpPr>
          <p:spPr bwMode="gray">
            <a:xfrm>
              <a:off x="2234248" y="2800009"/>
              <a:ext cx="446964" cy="453160"/>
            </a:xfrm>
            <a:custGeom>
              <a:avLst/>
              <a:gdLst>
                <a:gd name="T0" fmla="*/ 0 w 318"/>
                <a:gd name="T1" fmla="*/ 2147483647 h 340"/>
                <a:gd name="T2" fmla="*/ 2147483647 w 318"/>
                <a:gd name="T3" fmla="*/ 2147483647 h 340"/>
                <a:gd name="T4" fmla="*/ 2147483647 w 318"/>
                <a:gd name="T5" fmla="*/ 2147483647 h 340"/>
                <a:gd name="T6" fmla="*/ 2147483647 w 318"/>
                <a:gd name="T7" fmla="*/ 2147483647 h 340"/>
                <a:gd name="T8" fmla="*/ 2147483647 w 318"/>
                <a:gd name="T9" fmla="*/ 2147483647 h 340"/>
                <a:gd name="T10" fmla="*/ 2147483647 w 318"/>
                <a:gd name="T11" fmla="*/ 2147483647 h 340"/>
                <a:gd name="T12" fmla="*/ 2147483647 w 318"/>
                <a:gd name="T13" fmla="*/ 2147483647 h 340"/>
                <a:gd name="T14" fmla="*/ 2147483647 w 318"/>
                <a:gd name="T15" fmla="*/ 2147483647 h 340"/>
                <a:gd name="T16" fmla="*/ 2147483647 w 318"/>
                <a:gd name="T17" fmla="*/ 2147483647 h 340"/>
                <a:gd name="T18" fmla="*/ 2147483647 w 318"/>
                <a:gd name="T19" fmla="*/ 2147483647 h 340"/>
                <a:gd name="T20" fmla="*/ 2147483647 w 318"/>
                <a:gd name="T21" fmla="*/ 2147483647 h 340"/>
                <a:gd name="T22" fmla="*/ 2147483647 w 318"/>
                <a:gd name="T23" fmla="*/ 2147483647 h 340"/>
                <a:gd name="T24" fmla="*/ 2147483647 w 318"/>
                <a:gd name="T25" fmla="*/ 2147483647 h 340"/>
                <a:gd name="T26" fmla="*/ 2147483647 w 318"/>
                <a:gd name="T27" fmla="*/ 2147483647 h 340"/>
                <a:gd name="T28" fmla="*/ 2147483647 w 318"/>
                <a:gd name="T29" fmla="*/ 2147483647 h 340"/>
                <a:gd name="T30" fmla="*/ 2147483647 w 318"/>
                <a:gd name="T31" fmla="*/ 2147483647 h 340"/>
                <a:gd name="T32" fmla="*/ 2147483647 w 318"/>
                <a:gd name="T33" fmla="*/ 2147483647 h 340"/>
                <a:gd name="T34" fmla="*/ 2147483647 w 318"/>
                <a:gd name="T35" fmla="*/ 2147483647 h 340"/>
                <a:gd name="T36" fmla="*/ 2147483647 w 318"/>
                <a:gd name="T37" fmla="*/ 2147483647 h 340"/>
                <a:gd name="T38" fmla="*/ 2147483647 w 318"/>
                <a:gd name="T39" fmla="*/ 2147483647 h 340"/>
                <a:gd name="T40" fmla="*/ 2147483647 w 318"/>
                <a:gd name="T41" fmla="*/ 2147483647 h 340"/>
                <a:gd name="T42" fmla="*/ 2147483647 w 318"/>
                <a:gd name="T43" fmla="*/ 2147483647 h 340"/>
                <a:gd name="T44" fmla="*/ 2147483647 w 318"/>
                <a:gd name="T45" fmla="*/ 2147483647 h 340"/>
                <a:gd name="T46" fmla="*/ 2147483647 w 318"/>
                <a:gd name="T47" fmla="*/ 2147483647 h 340"/>
                <a:gd name="T48" fmla="*/ 2147483647 w 318"/>
                <a:gd name="T49" fmla="*/ 2147483647 h 340"/>
                <a:gd name="T50" fmla="*/ 2147483647 w 318"/>
                <a:gd name="T51" fmla="*/ 2147483647 h 340"/>
                <a:gd name="T52" fmla="*/ 2147483647 w 318"/>
                <a:gd name="T53" fmla="*/ 2147483647 h 340"/>
                <a:gd name="T54" fmla="*/ 2147483647 w 318"/>
                <a:gd name="T55" fmla="*/ 2147483647 h 340"/>
                <a:gd name="T56" fmla="*/ 2147483647 w 318"/>
                <a:gd name="T57" fmla="*/ 2147483647 h 340"/>
                <a:gd name="T58" fmla="*/ 2147483647 w 318"/>
                <a:gd name="T59" fmla="*/ 2147483647 h 340"/>
                <a:gd name="T60" fmla="*/ 2147483647 w 318"/>
                <a:gd name="T61" fmla="*/ 2147483647 h 340"/>
                <a:gd name="T62" fmla="*/ 2147483647 w 318"/>
                <a:gd name="T63" fmla="*/ 2147483647 h 340"/>
                <a:gd name="T64" fmla="*/ 2147483647 w 318"/>
                <a:gd name="T65" fmla="*/ 2147483647 h 340"/>
                <a:gd name="T66" fmla="*/ 2147483647 w 318"/>
                <a:gd name="T67" fmla="*/ 2147483647 h 340"/>
                <a:gd name="T68" fmla="*/ 2147483647 w 318"/>
                <a:gd name="T69" fmla="*/ 2147483647 h 340"/>
                <a:gd name="T70" fmla="*/ 2147483647 w 318"/>
                <a:gd name="T71" fmla="*/ 2147483647 h 340"/>
                <a:gd name="T72" fmla="*/ 2147483647 w 318"/>
                <a:gd name="T73" fmla="*/ 2147483647 h 340"/>
                <a:gd name="T74" fmla="*/ 2147483647 w 318"/>
                <a:gd name="T75" fmla="*/ 2147483647 h 340"/>
                <a:gd name="T76" fmla="*/ 2147483647 w 318"/>
                <a:gd name="T77" fmla="*/ 2147483647 h 340"/>
                <a:gd name="T78" fmla="*/ 2147483647 w 318"/>
                <a:gd name="T79" fmla="*/ 2147483647 h 340"/>
                <a:gd name="T80" fmla="*/ 2147483647 w 318"/>
                <a:gd name="T81" fmla="*/ 2147483647 h 340"/>
                <a:gd name="T82" fmla="*/ 2147483647 w 318"/>
                <a:gd name="T83" fmla="*/ 2147483647 h 340"/>
                <a:gd name="T84" fmla="*/ 2147483647 w 318"/>
                <a:gd name="T85" fmla="*/ 2147483647 h 3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18"/>
                <a:gd name="T130" fmla="*/ 0 h 340"/>
                <a:gd name="T131" fmla="*/ 318 w 318"/>
                <a:gd name="T132" fmla="*/ 340 h 3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18" h="340">
                  <a:moveTo>
                    <a:pt x="23" y="340"/>
                  </a:moveTo>
                  <a:lnTo>
                    <a:pt x="0" y="340"/>
                  </a:lnTo>
                  <a:lnTo>
                    <a:pt x="6" y="176"/>
                  </a:lnTo>
                  <a:lnTo>
                    <a:pt x="12" y="79"/>
                  </a:lnTo>
                  <a:lnTo>
                    <a:pt x="12" y="57"/>
                  </a:lnTo>
                  <a:lnTo>
                    <a:pt x="34" y="51"/>
                  </a:lnTo>
                  <a:lnTo>
                    <a:pt x="68" y="57"/>
                  </a:lnTo>
                  <a:lnTo>
                    <a:pt x="85" y="57"/>
                  </a:lnTo>
                  <a:lnTo>
                    <a:pt x="91" y="57"/>
                  </a:lnTo>
                  <a:lnTo>
                    <a:pt x="131" y="91"/>
                  </a:lnTo>
                  <a:lnTo>
                    <a:pt x="148" y="102"/>
                  </a:lnTo>
                  <a:lnTo>
                    <a:pt x="153" y="108"/>
                  </a:lnTo>
                  <a:lnTo>
                    <a:pt x="216" y="28"/>
                  </a:lnTo>
                  <a:lnTo>
                    <a:pt x="222" y="23"/>
                  </a:lnTo>
                  <a:lnTo>
                    <a:pt x="227" y="17"/>
                  </a:lnTo>
                  <a:lnTo>
                    <a:pt x="244" y="17"/>
                  </a:lnTo>
                  <a:lnTo>
                    <a:pt x="256" y="17"/>
                  </a:lnTo>
                  <a:lnTo>
                    <a:pt x="261" y="17"/>
                  </a:lnTo>
                  <a:lnTo>
                    <a:pt x="284" y="0"/>
                  </a:lnTo>
                  <a:lnTo>
                    <a:pt x="307" y="17"/>
                  </a:lnTo>
                  <a:lnTo>
                    <a:pt x="318" y="23"/>
                  </a:lnTo>
                  <a:lnTo>
                    <a:pt x="312" y="28"/>
                  </a:lnTo>
                  <a:lnTo>
                    <a:pt x="301" y="34"/>
                  </a:lnTo>
                  <a:lnTo>
                    <a:pt x="301" y="40"/>
                  </a:lnTo>
                  <a:lnTo>
                    <a:pt x="295" y="40"/>
                  </a:lnTo>
                  <a:lnTo>
                    <a:pt x="290" y="45"/>
                  </a:lnTo>
                  <a:lnTo>
                    <a:pt x="290" y="51"/>
                  </a:lnTo>
                  <a:lnTo>
                    <a:pt x="290" y="57"/>
                  </a:lnTo>
                  <a:lnTo>
                    <a:pt x="290" y="62"/>
                  </a:lnTo>
                  <a:lnTo>
                    <a:pt x="290" y="74"/>
                  </a:lnTo>
                  <a:lnTo>
                    <a:pt x="290" y="108"/>
                  </a:lnTo>
                  <a:lnTo>
                    <a:pt x="290" y="125"/>
                  </a:lnTo>
                  <a:lnTo>
                    <a:pt x="290" y="136"/>
                  </a:lnTo>
                  <a:lnTo>
                    <a:pt x="290" y="142"/>
                  </a:lnTo>
                  <a:lnTo>
                    <a:pt x="290" y="153"/>
                  </a:lnTo>
                  <a:lnTo>
                    <a:pt x="290" y="164"/>
                  </a:lnTo>
                  <a:lnTo>
                    <a:pt x="290" y="176"/>
                  </a:lnTo>
                  <a:lnTo>
                    <a:pt x="290" y="187"/>
                  </a:lnTo>
                  <a:lnTo>
                    <a:pt x="284" y="198"/>
                  </a:lnTo>
                  <a:lnTo>
                    <a:pt x="284" y="204"/>
                  </a:lnTo>
                  <a:lnTo>
                    <a:pt x="284" y="215"/>
                  </a:lnTo>
                  <a:lnTo>
                    <a:pt x="284" y="221"/>
                  </a:lnTo>
                  <a:lnTo>
                    <a:pt x="273" y="244"/>
                  </a:lnTo>
                  <a:lnTo>
                    <a:pt x="273" y="249"/>
                  </a:lnTo>
                  <a:lnTo>
                    <a:pt x="267" y="255"/>
                  </a:lnTo>
                  <a:lnTo>
                    <a:pt x="261" y="255"/>
                  </a:lnTo>
                  <a:lnTo>
                    <a:pt x="261" y="261"/>
                  </a:lnTo>
                  <a:lnTo>
                    <a:pt x="256" y="266"/>
                  </a:lnTo>
                  <a:lnTo>
                    <a:pt x="256" y="272"/>
                  </a:lnTo>
                  <a:lnTo>
                    <a:pt x="250" y="272"/>
                  </a:lnTo>
                  <a:lnTo>
                    <a:pt x="250" y="278"/>
                  </a:lnTo>
                  <a:lnTo>
                    <a:pt x="244" y="278"/>
                  </a:lnTo>
                  <a:lnTo>
                    <a:pt x="244" y="283"/>
                  </a:lnTo>
                  <a:lnTo>
                    <a:pt x="244" y="289"/>
                  </a:lnTo>
                  <a:lnTo>
                    <a:pt x="239" y="295"/>
                  </a:lnTo>
                  <a:lnTo>
                    <a:pt x="233" y="295"/>
                  </a:lnTo>
                  <a:lnTo>
                    <a:pt x="227" y="300"/>
                  </a:lnTo>
                  <a:lnTo>
                    <a:pt x="222" y="300"/>
                  </a:lnTo>
                  <a:lnTo>
                    <a:pt x="222" y="306"/>
                  </a:lnTo>
                  <a:lnTo>
                    <a:pt x="216" y="306"/>
                  </a:lnTo>
                  <a:lnTo>
                    <a:pt x="216" y="312"/>
                  </a:lnTo>
                  <a:lnTo>
                    <a:pt x="210" y="312"/>
                  </a:lnTo>
                  <a:lnTo>
                    <a:pt x="204" y="312"/>
                  </a:lnTo>
                  <a:lnTo>
                    <a:pt x="204" y="317"/>
                  </a:lnTo>
                  <a:lnTo>
                    <a:pt x="193" y="317"/>
                  </a:lnTo>
                  <a:lnTo>
                    <a:pt x="193" y="323"/>
                  </a:lnTo>
                  <a:lnTo>
                    <a:pt x="187" y="323"/>
                  </a:lnTo>
                  <a:lnTo>
                    <a:pt x="176" y="329"/>
                  </a:lnTo>
                  <a:lnTo>
                    <a:pt x="170" y="329"/>
                  </a:lnTo>
                  <a:lnTo>
                    <a:pt x="148" y="334"/>
                  </a:lnTo>
                  <a:lnTo>
                    <a:pt x="142" y="340"/>
                  </a:lnTo>
                  <a:lnTo>
                    <a:pt x="136" y="340"/>
                  </a:lnTo>
                  <a:lnTo>
                    <a:pt x="125" y="340"/>
                  </a:lnTo>
                  <a:lnTo>
                    <a:pt x="114" y="340"/>
                  </a:lnTo>
                  <a:lnTo>
                    <a:pt x="108" y="340"/>
                  </a:lnTo>
                  <a:lnTo>
                    <a:pt x="102" y="340"/>
                  </a:lnTo>
                  <a:lnTo>
                    <a:pt x="91" y="340"/>
                  </a:lnTo>
                  <a:lnTo>
                    <a:pt x="80" y="340"/>
                  </a:lnTo>
                  <a:lnTo>
                    <a:pt x="68" y="340"/>
                  </a:lnTo>
                  <a:lnTo>
                    <a:pt x="63" y="340"/>
                  </a:lnTo>
                  <a:lnTo>
                    <a:pt x="57" y="340"/>
                  </a:lnTo>
                  <a:lnTo>
                    <a:pt x="46" y="340"/>
                  </a:lnTo>
                  <a:lnTo>
                    <a:pt x="40" y="340"/>
                  </a:lnTo>
                  <a:lnTo>
                    <a:pt x="34" y="340"/>
                  </a:lnTo>
                  <a:lnTo>
                    <a:pt x="29" y="340"/>
                  </a:lnTo>
                  <a:lnTo>
                    <a:pt x="23" y="3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6" name="Freeform 25"/>
            <p:cNvSpPr>
              <a:spLocks/>
            </p:cNvSpPr>
            <p:nvPr/>
          </p:nvSpPr>
          <p:spPr bwMode="gray">
            <a:xfrm>
              <a:off x="2322835" y="2331531"/>
              <a:ext cx="1853624" cy="1239488"/>
            </a:xfrm>
            <a:custGeom>
              <a:avLst/>
              <a:gdLst>
                <a:gd name="T0" fmla="*/ 2147483647 w 1321"/>
                <a:gd name="T1" fmla="*/ 2147483647 h 929"/>
                <a:gd name="T2" fmla="*/ 2147483647 w 1321"/>
                <a:gd name="T3" fmla="*/ 2147483647 h 929"/>
                <a:gd name="T4" fmla="*/ 2147483647 w 1321"/>
                <a:gd name="T5" fmla="*/ 2147483647 h 929"/>
                <a:gd name="T6" fmla="*/ 2147483647 w 1321"/>
                <a:gd name="T7" fmla="*/ 2147483647 h 929"/>
                <a:gd name="T8" fmla="*/ 2147483647 w 1321"/>
                <a:gd name="T9" fmla="*/ 2147483647 h 929"/>
                <a:gd name="T10" fmla="*/ 2147483647 w 1321"/>
                <a:gd name="T11" fmla="*/ 2147483647 h 929"/>
                <a:gd name="T12" fmla="*/ 2147483647 w 1321"/>
                <a:gd name="T13" fmla="*/ 2147483647 h 929"/>
                <a:gd name="T14" fmla="*/ 2147483647 w 1321"/>
                <a:gd name="T15" fmla="*/ 2147483647 h 929"/>
                <a:gd name="T16" fmla="*/ 2147483647 w 1321"/>
                <a:gd name="T17" fmla="*/ 2147483647 h 929"/>
                <a:gd name="T18" fmla="*/ 2147483647 w 1321"/>
                <a:gd name="T19" fmla="*/ 2147483647 h 929"/>
                <a:gd name="T20" fmla="*/ 2147483647 w 1321"/>
                <a:gd name="T21" fmla="*/ 2147483647 h 929"/>
                <a:gd name="T22" fmla="*/ 2147483647 w 1321"/>
                <a:gd name="T23" fmla="*/ 2147483647 h 929"/>
                <a:gd name="T24" fmla="*/ 2147483647 w 1321"/>
                <a:gd name="T25" fmla="*/ 2147483647 h 929"/>
                <a:gd name="T26" fmla="*/ 2147483647 w 1321"/>
                <a:gd name="T27" fmla="*/ 2147483647 h 929"/>
                <a:gd name="T28" fmla="*/ 2147483647 w 1321"/>
                <a:gd name="T29" fmla="*/ 2147483647 h 929"/>
                <a:gd name="T30" fmla="*/ 2147483647 w 1321"/>
                <a:gd name="T31" fmla="*/ 2147483647 h 929"/>
                <a:gd name="T32" fmla="*/ 2147483647 w 1321"/>
                <a:gd name="T33" fmla="*/ 2147483647 h 929"/>
                <a:gd name="T34" fmla="*/ 2147483647 w 1321"/>
                <a:gd name="T35" fmla="*/ 2147483647 h 929"/>
                <a:gd name="T36" fmla="*/ 2147483647 w 1321"/>
                <a:gd name="T37" fmla="*/ 2147483647 h 929"/>
                <a:gd name="T38" fmla="*/ 2147483647 w 1321"/>
                <a:gd name="T39" fmla="*/ 2147483647 h 929"/>
                <a:gd name="T40" fmla="*/ 2147483647 w 1321"/>
                <a:gd name="T41" fmla="*/ 2147483647 h 929"/>
                <a:gd name="T42" fmla="*/ 2147483647 w 1321"/>
                <a:gd name="T43" fmla="*/ 2147483647 h 929"/>
                <a:gd name="T44" fmla="*/ 2147483647 w 1321"/>
                <a:gd name="T45" fmla="*/ 2147483647 h 929"/>
                <a:gd name="T46" fmla="*/ 2147483647 w 1321"/>
                <a:gd name="T47" fmla="*/ 0 h 929"/>
                <a:gd name="T48" fmla="*/ 2147483647 w 1321"/>
                <a:gd name="T49" fmla="*/ 2147483647 h 929"/>
                <a:gd name="T50" fmla="*/ 2147483647 w 1321"/>
                <a:gd name="T51" fmla="*/ 2147483647 h 929"/>
                <a:gd name="T52" fmla="*/ 2147483647 w 1321"/>
                <a:gd name="T53" fmla="*/ 2147483647 h 929"/>
                <a:gd name="T54" fmla="*/ 2147483647 w 1321"/>
                <a:gd name="T55" fmla="*/ 2147483647 h 929"/>
                <a:gd name="T56" fmla="*/ 2147483647 w 1321"/>
                <a:gd name="T57" fmla="*/ 2147483647 h 929"/>
                <a:gd name="T58" fmla="*/ 2147483647 w 1321"/>
                <a:gd name="T59" fmla="*/ 2147483647 h 929"/>
                <a:gd name="T60" fmla="*/ 2147483647 w 1321"/>
                <a:gd name="T61" fmla="*/ 2147483647 h 929"/>
                <a:gd name="T62" fmla="*/ 2147483647 w 1321"/>
                <a:gd name="T63" fmla="*/ 2147483647 h 929"/>
                <a:gd name="T64" fmla="*/ 2147483647 w 1321"/>
                <a:gd name="T65" fmla="*/ 2147483647 h 929"/>
                <a:gd name="T66" fmla="*/ 2147483647 w 1321"/>
                <a:gd name="T67" fmla="*/ 2147483647 h 929"/>
                <a:gd name="T68" fmla="*/ 2147483647 w 1321"/>
                <a:gd name="T69" fmla="*/ 2147483647 h 929"/>
                <a:gd name="T70" fmla="*/ 2147483647 w 1321"/>
                <a:gd name="T71" fmla="*/ 2147483647 h 929"/>
                <a:gd name="T72" fmla="*/ 2147483647 w 1321"/>
                <a:gd name="T73" fmla="*/ 2147483647 h 929"/>
                <a:gd name="T74" fmla="*/ 2147483647 w 1321"/>
                <a:gd name="T75" fmla="*/ 2147483647 h 929"/>
                <a:gd name="T76" fmla="*/ 2147483647 w 1321"/>
                <a:gd name="T77" fmla="*/ 2147483647 h 929"/>
                <a:gd name="T78" fmla="*/ 2147483647 w 1321"/>
                <a:gd name="T79" fmla="*/ 2147483647 h 929"/>
                <a:gd name="T80" fmla="*/ 2147483647 w 1321"/>
                <a:gd name="T81" fmla="*/ 2147483647 h 929"/>
                <a:gd name="T82" fmla="*/ 2147483647 w 1321"/>
                <a:gd name="T83" fmla="*/ 2147483647 h 929"/>
                <a:gd name="T84" fmla="*/ 2147483647 w 1321"/>
                <a:gd name="T85" fmla="*/ 2147483647 h 929"/>
                <a:gd name="T86" fmla="*/ 2147483647 w 1321"/>
                <a:gd name="T87" fmla="*/ 2147483647 h 929"/>
                <a:gd name="T88" fmla="*/ 2147483647 w 1321"/>
                <a:gd name="T89" fmla="*/ 2147483647 h 929"/>
                <a:gd name="T90" fmla="*/ 2147483647 w 1321"/>
                <a:gd name="T91" fmla="*/ 2147483647 h 929"/>
                <a:gd name="T92" fmla="*/ 2147483647 w 1321"/>
                <a:gd name="T93" fmla="*/ 2147483647 h 929"/>
                <a:gd name="T94" fmla="*/ 2147483647 w 1321"/>
                <a:gd name="T95" fmla="*/ 2147483647 h 929"/>
                <a:gd name="T96" fmla="*/ 2147483647 w 1321"/>
                <a:gd name="T97" fmla="*/ 2147483647 h 929"/>
                <a:gd name="T98" fmla="*/ 2147483647 w 1321"/>
                <a:gd name="T99" fmla="*/ 2147483647 h 929"/>
                <a:gd name="T100" fmla="*/ 2147483647 w 1321"/>
                <a:gd name="T101" fmla="*/ 2147483647 h 929"/>
                <a:gd name="T102" fmla="*/ 2147483647 w 1321"/>
                <a:gd name="T103" fmla="*/ 2147483647 h 929"/>
                <a:gd name="T104" fmla="*/ 2147483647 w 1321"/>
                <a:gd name="T105" fmla="*/ 2147483647 h 929"/>
                <a:gd name="T106" fmla="*/ 2147483647 w 1321"/>
                <a:gd name="T107" fmla="*/ 2147483647 h 929"/>
                <a:gd name="T108" fmla="*/ 2147483647 w 1321"/>
                <a:gd name="T109" fmla="*/ 2147483647 h 929"/>
                <a:gd name="T110" fmla="*/ 2147483647 w 1321"/>
                <a:gd name="T111" fmla="*/ 2147483647 h 929"/>
                <a:gd name="T112" fmla="*/ 2147483647 w 1321"/>
                <a:gd name="T113" fmla="*/ 2147483647 h 929"/>
                <a:gd name="T114" fmla="*/ 2147483647 w 1321"/>
                <a:gd name="T115" fmla="*/ 2147483647 h 929"/>
                <a:gd name="T116" fmla="*/ 2147483647 w 1321"/>
                <a:gd name="T117" fmla="*/ 2147483647 h 9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321"/>
                <a:gd name="T178" fmla="*/ 0 h 929"/>
                <a:gd name="T179" fmla="*/ 1321 w 1321"/>
                <a:gd name="T180" fmla="*/ 929 h 9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321" h="929">
                  <a:moveTo>
                    <a:pt x="238" y="827"/>
                  </a:moveTo>
                  <a:lnTo>
                    <a:pt x="232" y="827"/>
                  </a:lnTo>
                  <a:lnTo>
                    <a:pt x="227" y="827"/>
                  </a:lnTo>
                  <a:lnTo>
                    <a:pt x="215" y="827"/>
                  </a:lnTo>
                  <a:lnTo>
                    <a:pt x="204" y="827"/>
                  </a:lnTo>
                  <a:lnTo>
                    <a:pt x="198" y="827"/>
                  </a:lnTo>
                  <a:lnTo>
                    <a:pt x="193" y="827"/>
                  </a:lnTo>
                  <a:lnTo>
                    <a:pt x="181" y="827"/>
                  </a:lnTo>
                  <a:lnTo>
                    <a:pt x="170" y="827"/>
                  </a:lnTo>
                  <a:lnTo>
                    <a:pt x="159" y="833"/>
                  </a:lnTo>
                  <a:lnTo>
                    <a:pt x="153" y="833"/>
                  </a:lnTo>
                  <a:lnTo>
                    <a:pt x="147" y="833"/>
                  </a:lnTo>
                  <a:lnTo>
                    <a:pt x="141" y="833"/>
                  </a:lnTo>
                  <a:lnTo>
                    <a:pt x="136" y="833"/>
                  </a:lnTo>
                  <a:lnTo>
                    <a:pt x="124" y="838"/>
                  </a:lnTo>
                  <a:lnTo>
                    <a:pt x="119" y="838"/>
                  </a:lnTo>
                  <a:lnTo>
                    <a:pt x="113" y="844"/>
                  </a:lnTo>
                  <a:lnTo>
                    <a:pt x="102" y="844"/>
                  </a:lnTo>
                  <a:lnTo>
                    <a:pt x="96" y="844"/>
                  </a:lnTo>
                  <a:lnTo>
                    <a:pt x="96" y="850"/>
                  </a:lnTo>
                  <a:lnTo>
                    <a:pt x="85" y="850"/>
                  </a:lnTo>
                  <a:lnTo>
                    <a:pt x="85" y="855"/>
                  </a:lnTo>
                  <a:lnTo>
                    <a:pt x="79" y="855"/>
                  </a:lnTo>
                  <a:lnTo>
                    <a:pt x="73" y="855"/>
                  </a:lnTo>
                  <a:lnTo>
                    <a:pt x="68" y="855"/>
                  </a:lnTo>
                  <a:lnTo>
                    <a:pt x="56" y="855"/>
                  </a:lnTo>
                  <a:lnTo>
                    <a:pt x="56" y="861"/>
                  </a:lnTo>
                  <a:lnTo>
                    <a:pt x="51" y="861"/>
                  </a:lnTo>
                  <a:lnTo>
                    <a:pt x="39" y="861"/>
                  </a:lnTo>
                  <a:lnTo>
                    <a:pt x="39" y="867"/>
                  </a:lnTo>
                  <a:lnTo>
                    <a:pt x="34" y="872"/>
                  </a:lnTo>
                  <a:lnTo>
                    <a:pt x="28" y="872"/>
                  </a:lnTo>
                  <a:lnTo>
                    <a:pt x="22" y="872"/>
                  </a:lnTo>
                  <a:lnTo>
                    <a:pt x="17" y="878"/>
                  </a:lnTo>
                  <a:lnTo>
                    <a:pt x="17" y="884"/>
                  </a:lnTo>
                  <a:lnTo>
                    <a:pt x="11" y="884"/>
                  </a:lnTo>
                  <a:lnTo>
                    <a:pt x="5" y="884"/>
                  </a:lnTo>
                  <a:lnTo>
                    <a:pt x="5" y="878"/>
                  </a:lnTo>
                  <a:lnTo>
                    <a:pt x="5" y="872"/>
                  </a:lnTo>
                  <a:lnTo>
                    <a:pt x="5" y="861"/>
                  </a:lnTo>
                  <a:lnTo>
                    <a:pt x="11" y="855"/>
                  </a:lnTo>
                  <a:lnTo>
                    <a:pt x="11" y="844"/>
                  </a:lnTo>
                  <a:lnTo>
                    <a:pt x="11" y="838"/>
                  </a:lnTo>
                  <a:lnTo>
                    <a:pt x="11" y="833"/>
                  </a:lnTo>
                  <a:lnTo>
                    <a:pt x="11" y="827"/>
                  </a:lnTo>
                  <a:lnTo>
                    <a:pt x="17" y="827"/>
                  </a:lnTo>
                  <a:lnTo>
                    <a:pt x="17" y="821"/>
                  </a:lnTo>
                  <a:lnTo>
                    <a:pt x="17" y="816"/>
                  </a:lnTo>
                  <a:lnTo>
                    <a:pt x="17" y="810"/>
                  </a:lnTo>
                  <a:lnTo>
                    <a:pt x="17" y="804"/>
                  </a:lnTo>
                  <a:lnTo>
                    <a:pt x="17" y="799"/>
                  </a:lnTo>
                  <a:lnTo>
                    <a:pt x="17" y="787"/>
                  </a:lnTo>
                  <a:lnTo>
                    <a:pt x="22" y="787"/>
                  </a:lnTo>
                  <a:lnTo>
                    <a:pt x="22" y="782"/>
                  </a:lnTo>
                  <a:lnTo>
                    <a:pt x="17" y="782"/>
                  </a:lnTo>
                  <a:lnTo>
                    <a:pt x="17" y="776"/>
                  </a:lnTo>
                  <a:lnTo>
                    <a:pt x="11" y="770"/>
                  </a:lnTo>
                  <a:lnTo>
                    <a:pt x="11" y="765"/>
                  </a:lnTo>
                  <a:lnTo>
                    <a:pt x="11" y="759"/>
                  </a:lnTo>
                  <a:lnTo>
                    <a:pt x="11" y="753"/>
                  </a:lnTo>
                  <a:lnTo>
                    <a:pt x="5" y="748"/>
                  </a:lnTo>
                  <a:lnTo>
                    <a:pt x="0" y="742"/>
                  </a:lnTo>
                  <a:lnTo>
                    <a:pt x="0" y="736"/>
                  </a:lnTo>
                  <a:lnTo>
                    <a:pt x="5" y="731"/>
                  </a:lnTo>
                  <a:lnTo>
                    <a:pt x="11" y="714"/>
                  </a:lnTo>
                  <a:lnTo>
                    <a:pt x="17" y="708"/>
                  </a:lnTo>
                  <a:lnTo>
                    <a:pt x="17" y="702"/>
                  </a:lnTo>
                  <a:lnTo>
                    <a:pt x="28" y="691"/>
                  </a:lnTo>
                  <a:lnTo>
                    <a:pt x="39" y="691"/>
                  </a:lnTo>
                  <a:lnTo>
                    <a:pt x="45" y="691"/>
                  </a:lnTo>
                  <a:lnTo>
                    <a:pt x="51" y="691"/>
                  </a:lnTo>
                  <a:lnTo>
                    <a:pt x="62" y="691"/>
                  </a:lnTo>
                  <a:lnTo>
                    <a:pt x="73" y="691"/>
                  </a:lnTo>
                  <a:lnTo>
                    <a:pt x="79" y="691"/>
                  </a:lnTo>
                  <a:lnTo>
                    <a:pt x="85" y="685"/>
                  </a:lnTo>
                  <a:lnTo>
                    <a:pt x="107" y="680"/>
                  </a:lnTo>
                  <a:lnTo>
                    <a:pt x="113" y="680"/>
                  </a:lnTo>
                  <a:lnTo>
                    <a:pt x="124" y="674"/>
                  </a:lnTo>
                  <a:lnTo>
                    <a:pt x="130" y="674"/>
                  </a:lnTo>
                  <a:lnTo>
                    <a:pt x="130" y="668"/>
                  </a:lnTo>
                  <a:lnTo>
                    <a:pt x="141" y="668"/>
                  </a:lnTo>
                  <a:lnTo>
                    <a:pt x="141" y="663"/>
                  </a:lnTo>
                  <a:lnTo>
                    <a:pt x="147" y="663"/>
                  </a:lnTo>
                  <a:lnTo>
                    <a:pt x="153" y="663"/>
                  </a:lnTo>
                  <a:lnTo>
                    <a:pt x="153" y="657"/>
                  </a:lnTo>
                  <a:lnTo>
                    <a:pt x="159" y="657"/>
                  </a:lnTo>
                  <a:lnTo>
                    <a:pt x="159" y="651"/>
                  </a:lnTo>
                  <a:lnTo>
                    <a:pt x="164" y="651"/>
                  </a:lnTo>
                  <a:lnTo>
                    <a:pt x="170" y="646"/>
                  </a:lnTo>
                  <a:lnTo>
                    <a:pt x="176" y="646"/>
                  </a:lnTo>
                  <a:lnTo>
                    <a:pt x="181" y="640"/>
                  </a:lnTo>
                  <a:lnTo>
                    <a:pt x="181" y="634"/>
                  </a:lnTo>
                  <a:lnTo>
                    <a:pt x="181" y="629"/>
                  </a:lnTo>
                  <a:lnTo>
                    <a:pt x="187" y="629"/>
                  </a:lnTo>
                  <a:lnTo>
                    <a:pt x="187" y="623"/>
                  </a:lnTo>
                  <a:lnTo>
                    <a:pt x="193" y="623"/>
                  </a:lnTo>
                  <a:lnTo>
                    <a:pt x="193" y="617"/>
                  </a:lnTo>
                  <a:lnTo>
                    <a:pt x="198" y="612"/>
                  </a:lnTo>
                  <a:lnTo>
                    <a:pt x="198" y="606"/>
                  </a:lnTo>
                  <a:lnTo>
                    <a:pt x="204" y="606"/>
                  </a:lnTo>
                  <a:lnTo>
                    <a:pt x="210" y="600"/>
                  </a:lnTo>
                  <a:lnTo>
                    <a:pt x="210" y="595"/>
                  </a:lnTo>
                  <a:lnTo>
                    <a:pt x="221" y="572"/>
                  </a:lnTo>
                  <a:lnTo>
                    <a:pt x="221" y="566"/>
                  </a:lnTo>
                  <a:lnTo>
                    <a:pt x="221" y="555"/>
                  </a:lnTo>
                  <a:lnTo>
                    <a:pt x="221" y="549"/>
                  </a:lnTo>
                  <a:lnTo>
                    <a:pt x="227" y="538"/>
                  </a:lnTo>
                  <a:lnTo>
                    <a:pt x="227" y="527"/>
                  </a:lnTo>
                  <a:lnTo>
                    <a:pt x="227" y="515"/>
                  </a:lnTo>
                  <a:lnTo>
                    <a:pt x="227" y="504"/>
                  </a:lnTo>
                  <a:lnTo>
                    <a:pt x="227" y="493"/>
                  </a:lnTo>
                  <a:lnTo>
                    <a:pt x="227" y="487"/>
                  </a:lnTo>
                  <a:lnTo>
                    <a:pt x="227" y="476"/>
                  </a:lnTo>
                  <a:lnTo>
                    <a:pt x="227" y="459"/>
                  </a:lnTo>
                  <a:lnTo>
                    <a:pt x="227" y="425"/>
                  </a:lnTo>
                  <a:lnTo>
                    <a:pt x="227" y="413"/>
                  </a:lnTo>
                  <a:lnTo>
                    <a:pt x="227" y="408"/>
                  </a:lnTo>
                  <a:lnTo>
                    <a:pt x="227" y="402"/>
                  </a:lnTo>
                  <a:lnTo>
                    <a:pt x="227" y="396"/>
                  </a:lnTo>
                  <a:lnTo>
                    <a:pt x="232" y="391"/>
                  </a:lnTo>
                  <a:lnTo>
                    <a:pt x="238" y="391"/>
                  </a:lnTo>
                  <a:lnTo>
                    <a:pt x="238" y="385"/>
                  </a:lnTo>
                  <a:lnTo>
                    <a:pt x="249" y="379"/>
                  </a:lnTo>
                  <a:lnTo>
                    <a:pt x="255" y="374"/>
                  </a:lnTo>
                  <a:lnTo>
                    <a:pt x="244" y="368"/>
                  </a:lnTo>
                  <a:lnTo>
                    <a:pt x="249" y="368"/>
                  </a:lnTo>
                  <a:lnTo>
                    <a:pt x="255" y="368"/>
                  </a:lnTo>
                  <a:lnTo>
                    <a:pt x="255" y="362"/>
                  </a:lnTo>
                  <a:lnTo>
                    <a:pt x="261" y="362"/>
                  </a:lnTo>
                  <a:lnTo>
                    <a:pt x="266" y="362"/>
                  </a:lnTo>
                  <a:lnTo>
                    <a:pt x="272" y="362"/>
                  </a:lnTo>
                  <a:lnTo>
                    <a:pt x="278" y="368"/>
                  </a:lnTo>
                  <a:lnTo>
                    <a:pt x="278" y="374"/>
                  </a:lnTo>
                  <a:lnTo>
                    <a:pt x="283" y="374"/>
                  </a:lnTo>
                  <a:lnTo>
                    <a:pt x="289" y="374"/>
                  </a:lnTo>
                  <a:lnTo>
                    <a:pt x="295" y="374"/>
                  </a:lnTo>
                  <a:lnTo>
                    <a:pt x="300" y="374"/>
                  </a:lnTo>
                  <a:lnTo>
                    <a:pt x="300" y="379"/>
                  </a:lnTo>
                  <a:lnTo>
                    <a:pt x="306" y="379"/>
                  </a:lnTo>
                  <a:lnTo>
                    <a:pt x="312" y="385"/>
                  </a:lnTo>
                  <a:lnTo>
                    <a:pt x="323" y="379"/>
                  </a:lnTo>
                  <a:lnTo>
                    <a:pt x="329" y="374"/>
                  </a:lnTo>
                  <a:lnTo>
                    <a:pt x="334" y="374"/>
                  </a:lnTo>
                  <a:lnTo>
                    <a:pt x="334" y="368"/>
                  </a:lnTo>
                  <a:lnTo>
                    <a:pt x="340" y="368"/>
                  </a:lnTo>
                  <a:lnTo>
                    <a:pt x="340" y="362"/>
                  </a:lnTo>
                  <a:lnTo>
                    <a:pt x="340" y="357"/>
                  </a:lnTo>
                  <a:lnTo>
                    <a:pt x="351" y="357"/>
                  </a:lnTo>
                  <a:lnTo>
                    <a:pt x="357" y="357"/>
                  </a:lnTo>
                  <a:lnTo>
                    <a:pt x="363" y="357"/>
                  </a:lnTo>
                  <a:lnTo>
                    <a:pt x="368" y="357"/>
                  </a:lnTo>
                  <a:lnTo>
                    <a:pt x="374" y="357"/>
                  </a:lnTo>
                  <a:lnTo>
                    <a:pt x="380" y="362"/>
                  </a:lnTo>
                  <a:lnTo>
                    <a:pt x="380" y="368"/>
                  </a:lnTo>
                  <a:lnTo>
                    <a:pt x="385" y="374"/>
                  </a:lnTo>
                  <a:lnTo>
                    <a:pt x="385" y="379"/>
                  </a:lnTo>
                  <a:lnTo>
                    <a:pt x="391" y="379"/>
                  </a:lnTo>
                  <a:lnTo>
                    <a:pt x="391" y="385"/>
                  </a:lnTo>
                  <a:lnTo>
                    <a:pt x="391" y="391"/>
                  </a:lnTo>
                  <a:lnTo>
                    <a:pt x="391" y="396"/>
                  </a:lnTo>
                  <a:lnTo>
                    <a:pt x="397" y="402"/>
                  </a:lnTo>
                  <a:lnTo>
                    <a:pt x="397" y="408"/>
                  </a:lnTo>
                  <a:lnTo>
                    <a:pt x="397" y="413"/>
                  </a:lnTo>
                  <a:lnTo>
                    <a:pt x="402" y="413"/>
                  </a:lnTo>
                  <a:lnTo>
                    <a:pt x="408" y="419"/>
                  </a:lnTo>
                  <a:lnTo>
                    <a:pt x="408" y="425"/>
                  </a:lnTo>
                  <a:lnTo>
                    <a:pt x="414" y="430"/>
                  </a:lnTo>
                  <a:lnTo>
                    <a:pt x="419" y="436"/>
                  </a:lnTo>
                  <a:lnTo>
                    <a:pt x="419" y="442"/>
                  </a:lnTo>
                  <a:lnTo>
                    <a:pt x="419" y="447"/>
                  </a:lnTo>
                  <a:lnTo>
                    <a:pt x="419" y="453"/>
                  </a:lnTo>
                  <a:lnTo>
                    <a:pt x="419" y="459"/>
                  </a:lnTo>
                  <a:lnTo>
                    <a:pt x="414" y="476"/>
                  </a:lnTo>
                  <a:lnTo>
                    <a:pt x="414" y="481"/>
                  </a:lnTo>
                  <a:lnTo>
                    <a:pt x="419" y="493"/>
                  </a:lnTo>
                  <a:lnTo>
                    <a:pt x="425" y="493"/>
                  </a:lnTo>
                  <a:lnTo>
                    <a:pt x="431" y="487"/>
                  </a:lnTo>
                  <a:lnTo>
                    <a:pt x="436" y="481"/>
                  </a:lnTo>
                  <a:lnTo>
                    <a:pt x="436" y="476"/>
                  </a:lnTo>
                  <a:lnTo>
                    <a:pt x="442" y="476"/>
                  </a:lnTo>
                  <a:lnTo>
                    <a:pt x="448" y="470"/>
                  </a:lnTo>
                  <a:lnTo>
                    <a:pt x="448" y="464"/>
                  </a:lnTo>
                  <a:lnTo>
                    <a:pt x="453" y="464"/>
                  </a:lnTo>
                  <a:lnTo>
                    <a:pt x="453" y="459"/>
                  </a:lnTo>
                  <a:lnTo>
                    <a:pt x="459" y="453"/>
                  </a:lnTo>
                  <a:lnTo>
                    <a:pt x="465" y="453"/>
                  </a:lnTo>
                  <a:lnTo>
                    <a:pt x="465" y="447"/>
                  </a:lnTo>
                  <a:lnTo>
                    <a:pt x="470" y="447"/>
                  </a:lnTo>
                  <a:lnTo>
                    <a:pt x="476" y="447"/>
                  </a:lnTo>
                  <a:lnTo>
                    <a:pt x="482" y="442"/>
                  </a:lnTo>
                  <a:lnTo>
                    <a:pt x="487" y="447"/>
                  </a:lnTo>
                  <a:lnTo>
                    <a:pt x="499" y="447"/>
                  </a:lnTo>
                  <a:lnTo>
                    <a:pt x="504" y="447"/>
                  </a:lnTo>
                  <a:lnTo>
                    <a:pt x="510" y="453"/>
                  </a:lnTo>
                  <a:lnTo>
                    <a:pt x="516" y="459"/>
                  </a:lnTo>
                  <a:lnTo>
                    <a:pt x="521" y="464"/>
                  </a:lnTo>
                  <a:lnTo>
                    <a:pt x="521" y="470"/>
                  </a:lnTo>
                  <a:lnTo>
                    <a:pt x="527" y="476"/>
                  </a:lnTo>
                  <a:lnTo>
                    <a:pt x="527" y="481"/>
                  </a:lnTo>
                  <a:lnTo>
                    <a:pt x="533" y="481"/>
                  </a:lnTo>
                  <a:lnTo>
                    <a:pt x="538" y="487"/>
                  </a:lnTo>
                  <a:lnTo>
                    <a:pt x="544" y="493"/>
                  </a:lnTo>
                  <a:lnTo>
                    <a:pt x="550" y="493"/>
                  </a:lnTo>
                  <a:lnTo>
                    <a:pt x="561" y="493"/>
                  </a:lnTo>
                  <a:lnTo>
                    <a:pt x="567" y="493"/>
                  </a:lnTo>
                  <a:lnTo>
                    <a:pt x="572" y="493"/>
                  </a:lnTo>
                  <a:lnTo>
                    <a:pt x="578" y="493"/>
                  </a:lnTo>
                  <a:lnTo>
                    <a:pt x="578" y="487"/>
                  </a:lnTo>
                  <a:lnTo>
                    <a:pt x="584" y="481"/>
                  </a:lnTo>
                  <a:lnTo>
                    <a:pt x="589" y="481"/>
                  </a:lnTo>
                  <a:lnTo>
                    <a:pt x="589" y="476"/>
                  </a:lnTo>
                  <a:lnTo>
                    <a:pt x="589" y="470"/>
                  </a:lnTo>
                  <a:lnTo>
                    <a:pt x="589" y="464"/>
                  </a:lnTo>
                  <a:lnTo>
                    <a:pt x="595" y="459"/>
                  </a:lnTo>
                  <a:lnTo>
                    <a:pt x="595" y="453"/>
                  </a:lnTo>
                  <a:lnTo>
                    <a:pt x="601" y="447"/>
                  </a:lnTo>
                  <a:lnTo>
                    <a:pt x="601" y="442"/>
                  </a:lnTo>
                  <a:lnTo>
                    <a:pt x="606" y="436"/>
                  </a:lnTo>
                  <a:lnTo>
                    <a:pt x="606" y="430"/>
                  </a:lnTo>
                  <a:lnTo>
                    <a:pt x="606" y="425"/>
                  </a:lnTo>
                  <a:lnTo>
                    <a:pt x="612" y="419"/>
                  </a:lnTo>
                  <a:lnTo>
                    <a:pt x="612" y="413"/>
                  </a:lnTo>
                  <a:lnTo>
                    <a:pt x="618" y="413"/>
                  </a:lnTo>
                  <a:lnTo>
                    <a:pt x="618" y="408"/>
                  </a:lnTo>
                  <a:lnTo>
                    <a:pt x="618" y="402"/>
                  </a:lnTo>
                  <a:lnTo>
                    <a:pt x="623" y="396"/>
                  </a:lnTo>
                  <a:lnTo>
                    <a:pt x="629" y="391"/>
                  </a:lnTo>
                  <a:lnTo>
                    <a:pt x="629" y="385"/>
                  </a:lnTo>
                  <a:lnTo>
                    <a:pt x="629" y="379"/>
                  </a:lnTo>
                  <a:lnTo>
                    <a:pt x="629" y="374"/>
                  </a:lnTo>
                  <a:lnTo>
                    <a:pt x="623" y="368"/>
                  </a:lnTo>
                  <a:lnTo>
                    <a:pt x="618" y="368"/>
                  </a:lnTo>
                  <a:lnTo>
                    <a:pt x="618" y="362"/>
                  </a:lnTo>
                  <a:lnTo>
                    <a:pt x="612" y="362"/>
                  </a:lnTo>
                  <a:lnTo>
                    <a:pt x="606" y="362"/>
                  </a:lnTo>
                  <a:lnTo>
                    <a:pt x="606" y="357"/>
                  </a:lnTo>
                  <a:lnTo>
                    <a:pt x="601" y="351"/>
                  </a:lnTo>
                  <a:lnTo>
                    <a:pt x="589" y="340"/>
                  </a:lnTo>
                  <a:lnTo>
                    <a:pt x="584" y="334"/>
                  </a:lnTo>
                  <a:lnTo>
                    <a:pt x="584" y="328"/>
                  </a:lnTo>
                  <a:lnTo>
                    <a:pt x="578" y="328"/>
                  </a:lnTo>
                  <a:lnTo>
                    <a:pt x="578" y="323"/>
                  </a:lnTo>
                  <a:lnTo>
                    <a:pt x="578" y="317"/>
                  </a:lnTo>
                  <a:lnTo>
                    <a:pt x="578" y="311"/>
                  </a:lnTo>
                  <a:lnTo>
                    <a:pt x="578" y="300"/>
                  </a:lnTo>
                  <a:lnTo>
                    <a:pt x="578" y="294"/>
                  </a:lnTo>
                  <a:lnTo>
                    <a:pt x="578" y="289"/>
                  </a:lnTo>
                  <a:lnTo>
                    <a:pt x="584" y="277"/>
                  </a:lnTo>
                  <a:lnTo>
                    <a:pt x="589" y="266"/>
                  </a:lnTo>
                  <a:lnTo>
                    <a:pt x="589" y="260"/>
                  </a:lnTo>
                  <a:lnTo>
                    <a:pt x="589" y="255"/>
                  </a:lnTo>
                  <a:lnTo>
                    <a:pt x="595" y="249"/>
                  </a:lnTo>
                  <a:lnTo>
                    <a:pt x="601" y="243"/>
                  </a:lnTo>
                  <a:lnTo>
                    <a:pt x="601" y="232"/>
                  </a:lnTo>
                  <a:lnTo>
                    <a:pt x="601" y="221"/>
                  </a:lnTo>
                  <a:lnTo>
                    <a:pt x="601" y="215"/>
                  </a:lnTo>
                  <a:lnTo>
                    <a:pt x="601" y="192"/>
                  </a:lnTo>
                  <a:lnTo>
                    <a:pt x="601" y="181"/>
                  </a:lnTo>
                  <a:lnTo>
                    <a:pt x="601" y="175"/>
                  </a:lnTo>
                  <a:lnTo>
                    <a:pt x="601" y="170"/>
                  </a:lnTo>
                  <a:lnTo>
                    <a:pt x="606" y="164"/>
                  </a:lnTo>
                  <a:lnTo>
                    <a:pt x="606" y="158"/>
                  </a:lnTo>
                  <a:lnTo>
                    <a:pt x="606" y="153"/>
                  </a:lnTo>
                  <a:lnTo>
                    <a:pt x="612" y="153"/>
                  </a:lnTo>
                  <a:lnTo>
                    <a:pt x="612" y="147"/>
                  </a:lnTo>
                  <a:lnTo>
                    <a:pt x="618" y="141"/>
                  </a:lnTo>
                  <a:lnTo>
                    <a:pt x="618" y="136"/>
                  </a:lnTo>
                  <a:lnTo>
                    <a:pt x="618" y="130"/>
                  </a:lnTo>
                  <a:lnTo>
                    <a:pt x="618" y="124"/>
                  </a:lnTo>
                  <a:lnTo>
                    <a:pt x="618" y="119"/>
                  </a:lnTo>
                  <a:lnTo>
                    <a:pt x="618" y="96"/>
                  </a:lnTo>
                  <a:lnTo>
                    <a:pt x="618" y="90"/>
                  </a:lnTo>
                  <a:lnTo>
                    <a:pt x="618" y="85"/>
                  </a:lnTo>
                  <a:lnTo>
                    <a:pt x="618" y="79"/>
                  </a:lnTo>
                  <a:lnTo>
                    <a:pt x="618" y="73"/>
                  </a:lnTo>
                  <a:lnTo>
                    <a:pt x="623" y="68"/>
                  </a:lnTo>
                  <a:lnTo>
                    <a:pt x="629" y="62"/>
                  </a:lnTo>
                  <a:lnTo>
                    <a:pt x="635" y="62"/>
                  </a:lnTo>
                  <a:lnTo>
                    <a:pt x="640" y="56"/>
                  </a:lnTo>
                  <a:lnTo>
                    <a:pt x="646" y="51"/>
                  </a:lnTo>
                  <a:lnTo>
                    <a:pt x="646" y="45"/>
                  </a:lnTo>
                  <a:lnTo>
                    <a:pt x="652" y="39"/>
                  </a:lnTo>
                  <a:lnTo>
                    <a:pt x="652" y="34"/>
                  </a:lnTo>
                  <a:lnTo>
                    <a:pt x="652" y="17"/>
                  </a:lnTo>
                  <a:lnTo>
                    <a:pt x="652" y="11"/>
                  </a:lnTo>
                  <a:lnTo>
                    <a:pt x="652" y="5"/>
                  </a:lnTo>
                  <a:lnTo>
                    <a:pt x="652" y="0"/>
                  </a:lnTo>
                  <a:lnTo>
                    <a:pt x="657" y="0"/>
                  </a:lnTo>
                  <a:lnTo>
                    <a:pt x="663" y="0"/>
                  </a:lnTo>
                  <a:lnTo>
                    <a:pt x="663" y="5"/>
                  </a:lnTo>
                  <a:lnTo>
                    <a:pt x="669" y="11"/>
                  </a:lnTo>
                  <a:lnTo>
                    <a:pt x="680" y="11"/>
                  </a:lnTo>
                  <a:lnTo>
                    <a:pt x="686" y="11"/>
                  </a:lnTo>
                  <a:lnTo>
                    <a:pt x="691" y="11"/>
                  </a:lnTo>
                  <a:lnTo>
                    <a:pt x="697" y="11"/>
                  </a:lnTo>
                  <a:lnTo>
                    <a:pt x="703" y="17"/>
                  </a:lnTo>
                  <a:lnTo>
                    <a:pt x="708" y="17"/>
                  </a:lnTo>
                  <a:lnTo>
                    <a:pt x="708" y="22"/>
                  </a:lnTo>
                  <a:lnTo>
                    <a:pt x="714" y="22"/>
                  </a:lnTo>
                  <a:lnTo>
                    <a:pt x="714" y="28"/>
                  </a:lnTo>
                  <a:lnTo>
                    <a:pt x="714" y="34"/>
                  </a:lnTo>
                  <a:lnTo>
                    <a:pt x="714" y="39"/>
                  </a:lnTo>
                  <a:lnTo>
                    <a:pt x="714" y="45"/>
                  </a:lnTo>
                  <a:lnTo>
                    <a:pt x="714" y="51"/>
                  </a:lnTo>
                  <a:lnTo>
                    <a:pt x="714" y="56"/>
                  </a:lnTo>
                  <a:lnTo>
                    <a:pt x="720" y="62"/>
                  </a:lnTo>
                  <a:lnTo>
                    <a:pt x="720" y="68"/>
                  </a:lnTo>
                  <a:lnTo>
                    <a:pt x="720" y="73"/>
                  </a:lnTo>
                  <a:lnTo>
                    <a:pt x="725" y="79"/>
                  </a:lnTo>
                  <a:lnTo>
                    <a:pt x="725" y="85"/>
                  </a:lnTo>
                  <a:lnTo>
                    <a:pt x="725" y="90"/>
                  </a:lnTo>
                  <a:lnTo>
                    <a:pt x="725" y="96"/>
                  </a:lnTo>
                  <a:lnTo>
                    <a:pt x="725" y="102"/>
                  </a:lnTo>
                  <a:lnTo>
                    <a:pt x="725" y="113"/>
                  </a:lnTo>
                  <a:lnTo>
                    <a:pt x="725" y="124"/>
                  </a:lnTo>
                  <a:lnTo>
                    <a:pt x="725" y="130"/>
                  </a:lnTo>
                  <a:lnTo>
                    <a:pt x="725" y="136"/>
                  </a:lnTo>
                  <a:lnTo>
                    <a:pt x="731" y="141"/>
                  </a:lnTo>
                  <a:lnTo>
                    <a:pt x="731" y="147"/>
                  </a:lnTo>
                  <a:lnTo>
                    <a:pt x="737" y="141"/>
                  </a:lnTo>
                  <a:lnTo>
                    <a:pt x="742" y="136"/>
                  </a:lnTo>
                  <a:lnTo>
                    <a:pt x="748" y="136"/>
                  </a:lnTo>
                  <a:lnTo>
                    <a:pt x="754" y="130"/>
                  </a:lnTo>
                  <a:lnTo>
                    <a:pt x="759" y="124"/>
                  </a:lnTo>
                  <a:lnTo>
                    <a:pt x="765" y="124"/>
                  </a:lnTo>
                  <a:lnTo>
                    <a:pt x="771" y="124"/>
                  </a:lnTo>
                  <a:lnTo>
                    <a:pt x="782" y="130"/>
                  </a:lnTo>
                  <a:lnTo>
                    <a:pt x="788" y="130"/>
                  </a:lnTo>
                  <a:lnTo>
                    <a:pt x="788" y="136"/>
                  </a:lnTo>
                  <a:lnTo>
                    <a:pt x="799" y="141"/>
                  </a:lnTo>
                  <a:lnTo>
                    <a:pt x="799" y="147"/>
                  </a:lnTo>
                  <a:lnTo>
                    <a:pt x="805" y="153"/>
                  </a:lnTo>
                  <a:lnTo>
                    <a:pt x="805" y="158"/>
                  </a:lnTo>
                  <a:lnTo>
                    <a:pt x="805" y="164"/>
                  </a:lnTo>
                  <a:lnTo>
                    <a:pt x="810" y="164"/>
                  </a:lnTo>
                  <a:lnTo>
                    <a:pt x="810" y="170"/>
                  </a:lnTo>
                  <a:lnTo>
                    <a:pt x="810" y="175"/>
                  </a:lnTo>
                  <a:lnTo>
                    <a:pt x="810" y="181"/>
                  </a:lnTo>
                  <a:lnTo>
                    <a:pt x="805" y="192"/>
                  </a:lnTo>
                  <a:lnTo>
                    <a:pt x="805" y="198"/>
                  </a:lnTo>
                  <a:lnTo>
                    <a:pt x="805" y="204"/>
                  </a:lnTo>
                  <a:lnTo>
                    <a:pt x="799" y="204"/>
                  </a:lnTo>
                  <a:lnTo>
                    <a:pt x="799" y="209"/>
                  </a:lnTo>
                  <a:lnTo>
                    <a:pt x="793" y="221"/>
                  </a:lnTo>
                  <a:lnTo>
                    <a:pt x="793" y="226"/>
                  </a:lnTo>
                  <a:lnTo>
                    <a:pt x="799" y="232"/>
                  </a:lnTo>
                  <a:lnTo>
                    <a:pt x="799" y="238"/>
                  </a:lnTo>
                  <a:lnTo>
                    <a:pt x="799" y="243"/>
                  </a:lnTo>
                  <a:lnTo>
                    <a:pt x="805" y="243"/>
                  </a:lnTo>
                  <a:lnTo>
                    <a:pt x="810" y="243"/>
                  </a:lnTo>
                  <a:lnTo>
                    <a:pt x="816" y="243"/>
                  </a:lnTo>
                  <a:lnTo>
                    <a:pt x="822" y="243"/>
                  </a:lnTo>
                  <a:lnTo>
                    <a:pt x="827" y="243"/>
                  </a:lnTo>
                  <a:lnTo>
                    <a:pt x="827" y="249"/>
                  </a:lnTo>
                  <a:lnTo>
                    <a:pt x="833" y="255"/>
                  </a:lnTo>
                  <a:lnTo>
                    <a:pt x="833" y="260"/>
                  </a:lnTo>
                  <a:lnTo>
                    <a:pt x="833" y="266"/>
                  </a:lnTo>
                  <a:lnTo>
                    <a:pt x="839" y="272"/>
                  </a:lnTo>
                  <a:lnTo>
                    <a:pt x="844" y="272"/>
                  </a:lnTo>
                  <a:lnTo>
                    <a:pt x="844" y="277"/>
                  </a:lnTo>
                  <a:lnTo>
                    <a:pt x="850" y="277"/>
                  </a:lnTo>
                  <a:lnTo>
                    <a:pt x="850" y="283"/>
                  </a:lnTo>
                  <a:lnTo>
                    <a:pt x="856" y="283"/>
                  </a:lnTo>
                  <a:lnTo>
                    <a:pt x="856" y="289"/>
                  </a:lnTo>
                  <a:lnTo>
                    <a:pt x="861" y="289"/>
                  </a:lnTo>
                  <a:lnTo>
                    <a:pt x="867" y="289"/>
                  </a:lnTo>
                  <a:lnTo>
                    <a:pt x="873" y="294"/>
                  </a:lnTo>
                  <a:lnTo>
                    <a:pt x="901" y="300"/>
                  </a:lnTo>
                  <a:lnTo>
                    <a:pt x="907" y="300"/>
                  </a:lnTo>
                  <a:lnTo>
                    <a:pt x="912" y="300"/>
                  </a:lnTo>
                  <a:lnTo>
                    <a:pt x="918" y="300"/>
                  </a:lnTo>
                  <a:lnTo>
                    <a:pt x="929" y="300"/>
                  </a:lnTo>
                  <a:lnTo>
                    <a:pt x="946" y="300"/>
                  </a:lnTo>
                  <a:lnTo>
                    <a:pt x="952" y="300"/>
                  </a:lnTo>
                  <a:lnTo>
                    <a:pt x="963" y="300"/>
                  </a:lnTo>
                  <a:lnTo>
                    <a:pt x="980" y="300"/>
                  </a:lnTo>
                  <a:lnTo>
                    <a:pt x="992" y="294"/>
                  </a:lnTo>
                  <a:lnTo>
                    <a:pt x="997" y="294"/>
                  </a:lnTo>
                  <a:lnTo>
                    <a:pt x="997" y="289"/>
                  </a:lnTo>
                  <a:lnTo>
                    <a:pt x="1003" y="289"/>
                  </a:lnTo>
                  <a:lnTo>
                    <a:pt x="1003" y="283"/>
                  </a:lnTo>
                  <a:lnTo>
                    <a:pt x="1009" y="283"/>
                  </a:lnTo>
                  <a:lnTo>
                    <a:pt x="1009" y="277"/>
                  </a:lnTo>
                  <a:lnTo>
                    <a:pt x="1009" y="272"/>
                  </a:lnTo>
                  <a:lnTo>
                    <a:pt x="1014" y="266"/>
                  </a:lnTo>
                  <a:lnTo>
                    <a:pt x="1014" y="260"/>
                  </a:lnTo>
                  <a:lnTo>
                    <a:pt x="1026" y="260"/>
                  </a:lnTo>
                  <a:lnTo>
                    <a:pt x="1043" y="255"/>
                  </a:lnTo>
                  <a:lnTo>
                    <a:pt x="1048" y="249"/>
                  </a:lnTo>
                  <a:lnTo>
                    <a:pt x="1048" y="243"/>
                  </a:lnTo>
                  <a:lnTo>
                    <a:pt x="1043" y="238"/>
                  </a:lnTo>
                  <a:lnTo>
                    <a:pt x="1043" y="232"/>
                  </a:lnTo>
                  <a:lnTo>
                    <a:pt x="1037" y="232"/>
                  </a:lnTo>
                  <a:lnTo>
                    <a:pt x="1037" y="226"/>
                  </a:lnTo>
                  <a:lnTo>
                    <a:pt x="1037" y="221"/>
                  </a:lnTo>
                  <a:lnTo>
                    <a:pt x="1031" y="221"/>
                  </a:lnTo>
                  <a:lnTo>
                    <a:pt x="1026" y="221"/>
                  </a:lnTo>
                  <a:lnTo>
                    <a:pt x="1026" y="215"/>
                  </a:lnTo>
                  <a:lnTo>
                    <a:pt x="1031" y="209"/>
                  </a:lnTo>
                  <a:lnTo>
                    <a:pt x="1037" y="204"/>
                  </a:lnTo>
                  <a:lnTo>
                    <a:pt x="1043" y="204"/>
                  </a:lnTo>
                  <a:lnTo>
                    <a:pt x="1054" y="204"/>
                  </a:lnTo>
                  <a:lnTo>
                    <a:pt x="1060" y="204"/>
                  </a:lnTo>
                  <a:lnTo>
                    <a:pt x="1071" y="209"/>
                  </a:lnTo>
                  <a:lnTo>
                    <a:pt x="1077" y="215"/>
                  </a:lnTo>
                  <a:lnTo>
                    <a:pt x="1083" y="215"/>
                  </a:lnTo>
                  <a:lnTo>
                    <a:pt x="1088" y="215"/>
                  </a:lnTo>
                  <a:lnTo>
                    <a:pt x="1100" y="215"/>
                  </a:lnTo>
                  <a:lnTo>
                    <a:pt x="1111" y="221"/>
                  </a:lnTo>
                  <a:lnTo>
                    <a:pt x="1117" y="221"/>
                  </a:lnTo>
                  <a:lnTo>
                    <a:pt x="1122" y="226"/>
                  </a:lnTo>
                  <a:lnTo>
                    <a:pt x="1128" y="232"/>
                  </a:lnTo>
                  <a:lnTo>
                    <a:pt x="1134" y="232"/>
                  </a:lnTo>
                  <a:lnTo>
                    <a:pt x="1139" y="232"/>
                  </a:lnTo>
                  <a:lnTo>
                    <a:pt x="1139" y="238"/>
                  </a:lnTo>
                  <a:lnTo>
                    <a:pt x="1139" y="243"/>
                  </a:lnTo>
                  <a:lnTo>
                    <a:pt x="1145" y="243"/>
                  </a:lnTo>
                  <a:lnTo>
                    <a:pt x="1151" y="249"/>
                  </a:lnTo>
                  <a:lnTo>
                    <a:pt x="1156" y="249"/>
                  </a:lnTo>
                  <a:lnTo>
                    <a:pt x="1173" y="249"/>
                  </a:lnTo>
                  <a:lnTo>
                    <a:pt x="1185" y="255"/>
                  </a:lnTo>
                  <a:lnTo>
                    <a:pt x="1185" y="260"/>
                  </a:lnTo>
                  <a:lnTo>
                    <a:pt x="1196" y="260"/>
                  </a:lnTo>
                  <a:lnTo>
                    <a:pt x="1202" y="260"/>
                  </a:lnTo>
                  <a:lnTo>
                    <a:pt x="1207" y="260"/>
                  </a:lnTo>
                  <a:lnTo>
                    <a:pt x="1207" y="266"/>
                  </a:lnTo>
                  <a:lnTo>
                    <a:pt x="1213" y="272"/>
                  </a:lnTo>
                  <a:lnTo>
                    <a:pt x="1219" y="272"/>
                  </a:lnTo>
                  <a:lnTo>
                    <a:pt x="1224" y="277"/>
                  </a:lnTo>
                  <a:lnTo>
                    <a:pt x="1230" y="277"/>
                  </a:lnTo>
                  <a:lnTo>
                    <a:pt x="1236" y="283"/>
                  </a:lnTo>
                  <a:lnTo>
                    <a:pt x="1241" y="283"/>
                  </a:lnTo>
                  <a:lnTo>
                    <a:pt x="1241" y="289"/>
                  </a:lnTo>
                  <a:lnTo>
                    <a:pt x="1247" y="289"/>
                  </a:lnTo>
                  <a:lnTo>
                    <a:pt x="1253" y="294"/>
                  </a:lnTo>
                  <a:lnTo>
                    <a:pt x="1264" y="300"/>
                  </a:lnTo>
                  <a:lnTo>
                    <a:pt x="1270" y="306"/>
                  </a:lnTo>
                  <a:lnTo>
                    <a:pt x="1275" y="311"/>
                  </a:lnTo>
                  <a:lnTo>
                    <a:pt x="1275" y="317"/>
                  </a:lnTo>
                  <a:lnTo>
                    <a:pt x="1281" y="317"/>
                  </a:lnTo>
                  <a:lnTo>
                    <a:pt x="1287" y="317"/>
                  </a:lnTo>
                  <a:lnTo>
                    <a:pt x="1292" y="323"/>
                  </a:lnTo>
                  <a:lnTo>
                    <a:pt x="1309" y="317"/>
                  </a:lnTo>
                  <a:lnTo>
                    <a:pt x="1292" y="328"/>
                  </a:lnTo>
                  <a:lnTo>
                    <a:pt x="1292" y="334"/>
                  </a:lnTo>
                  <a:lnTo>
                    <a:pt x="1292" y="340"/>
                  </a:lnTo>
                  <a:lnTo>
                    <a:pt x="1292" y="345"/>
                  </a:lnTo>
                  <a:lnTo>
                    <a:pt x="1287" y="345"/>
                  </a:lnTo>
                  <a:lnTo>
                    <a:pt x="1287" y="351"/>
                  </a:lnTo>
                  <a:lnTo>
                    <a:pt x="1287" y="357"/>
                  </a:lnTo>
                  <a:lnTo>
                    <a:pt x="1281" y="357"/>
                  </a:lnTo>
                  <a:lnTo>
                    <a:pt x="1281" y="362"/>
                  </a:lnTo>
                  <a:lnTo>
                    <a:pt x="1281" y="368"/>
                  </a:lnTo>
                  <a:lnTo>
                    <a:pt x="1281" y="374"/>
                  </a:lnTo>
                  <a:lnTo>
                    <a:pt x="1287" y="385"/>
                  </a:lnTo>
                  <a:lnTo>
                    <a:pt x="1287" y="396"/>
                  </a:lnTo>
                  <a:lnTo>
                    <a:pt x="1292" y="413"/>
                  </a:lnTo>
                  <a:lnTo>
                    <a:pt x="1292" y="425"/>
                  </a:lnTo>
                  <a:lnTo>
                    <a:pt x="1292" y="436"/>
                  </a:lnTo>
                  <a:lnTo>
                    <a:pt x="1304" y="453"/>
                  </a:lnTo>
                  <a:lnTo>
                    <a:pt x="1304" y="459"/>
                  </a:lnTo>
                  <a:lnTo>
                    <a:pt x="1309" y="470"/>
                  </a:lnTo>
                  <a:lnTo>
                    <a:pt x="1309" y="476"/>
                  </a:lnTo>
                  <a:lnTo>
                    <a:pt x="1309" y="481"/>
                  </a:lnTo>
                  <a:lnTo>
                    <a:pt x="1315" y="481"/>
                  </a:lnTo>
                  <a:lnTo>
                    <a:pt x="1321" y="487"/>
                  </a:lnTo>
                  <a:lnTo>
                    <a:pt x="1321" y="493"/>
                  </a:lnTo>
                  <a:lnTo>
                    <a:pt x="1321" y="498"/>
                  </a:lnTo>
                  <a:lnTo>
                    <a:pt x="1321" y="510"/>
                  </a:lnTo>
                  <a:lnTo>
                    <a:pt x="1321" y="515"/>
                  </a:lnTo>
                  <a:lnTo>
                    <a:pt x="1309" y="521"/>
                  </a:lnTo>
                  <a:lnTo>
                    <a:pt x="1304" y="521"/>
                  </a:lnTo>
                  <a:lnTo>
                    <a:pt x="1304" y="527"/>
                  </a:lnTo>
                  <a:lnTo>
                    <a:pt x="1298" y="527"/>
                  </a:lnTo>
                  <a:lnTo>
                    <a:pt x="1287" y="527"/>
                  </a:lnTo>
                  <a:lnTo>
                    <a:pt x="1270" y="527"/>
                  </a:lnTo>
                  <a:lnTo>
                    <a:pt x="1264" y="527"/>
                  </a:lnTo>
                  <a:lnTo>
                    <a:pt x="1258" y="532"/>
                  </a:lnTo>
                  <a:lnTo>
                    <a:pt x="1253" y="532"/>
                  </a:lnTo>
                  <a:lnTo>
                    <a:pt x="1247" y="538"/>
                  </a:lnTo>
                  <a:lnTo>
                    <a:pt x="1241" y="538"/>
                  </a:lnTo>
                  <a:lnTo>
                    <a:pt x="1236" y="538"/>
                  </a:lnTo>
                  <a:lnTo>
                    <a:pt x="1236" y="544"/>
                  </a:lnTo>
                  <a:lnTo>
                    <a:pt x="1230" y="544"/>
                  </a:lnTo>
                  <a:lnTo>
                    <a:pt x="1224" y="549"/>
                  </a:lnTo>
                  <a:lnTo>
                    <a:pt x="1213" y="555"/>
                  </a:lnTo>
                  <a:lnTo>
                    <a:pt x="1213" y="561"/>
                  </a:lnTo>
                  <a:lnTo>
                    <a:pt x="1207" y="561"/>
                  </a:lnTo>
                  <a:lnTo>
                    <a:pt x="1207" y="566"/>
                  </a:lnTo>
                  <a:lnTo>
                    <a:pt x="1202" y="566"/>
                  </a:lnTo>
                  <a:lnTo>
                    <a:pt x="1196" y="578"/>
                  </a:lnTo>
                  <a:lnTo>
                    <a:pt x="1190" y="578"/>
                  </a:lnTo>
                  <a:lnTo>
                    <a:pt x="1179" y="583"/>
                  </a:lnTo>
                  <a:lnTo>
                    <a:pt x="1179" y="589"/>
                  </a:lnTo>
                  <a:lnTo>
                    <a:pt x="1179" y="595"/>
                  </a:lnTo>
                  <a:lnTo>
                    <a:pt x="1173" y="595"/>
                  </a:lnTo>
                  <a:lnTo>
                    <a:pt x="1168" y="595"/>
                  </a:lnTo>
                  <a:lnTo>
                    <a:pt x="1162" y="606"/>
                  </a:lnTo>
                  <a:lnTo>
                    <a:pt x="1162" y="612"/>
                  </a:lnTo>
                  <a:lnTo>
                    <a:pt x="1156" y="612"/>
                  </a:lnTo>
                  <a:lnTo>
                    <a:pt x="1151" y="612"/>
                  </a:lnTo>
                  <a:lnTo>
                    <a:pt x="1151" y="617"/>
                  </a:lnTo>
                  <a:lnTo>
                    <a:pt x="1151" y="623"/>
                  </a:lnTo>
                  <a:lnTo>
                    <a:pt x="1145" y="623"/>
                  </a:lnTo>
                  <a:lnTo>
                    <a:pt x="1139" y="623"/>
                  </a:lnTo>
                  <a:lnTo>
                    <a:pt x="1139" y="629"/>
                  </a:lnTo>
                  <a:lnTo>
                    <a:pt x="1134" y="629"/>
                  </a:lnTo>
                  <a:lnTo>
                    <a:pt x="1134" y="634"/>
                  </a:lnTo>
                  <a:lnTo>
                    <a:pt x="1128" y="634"/>
                  </a:lnTo>
                  <a:lnTo>
                    <a:pt x="1128" y="640"/>
                  </a:lnTo>
                  <a:lnTo>
                    <a:pt x="1122" y="640"/>
                  </a:lnTo>
                  <a:lnTo>
                    <a:pt x="1122" y="646"/>
                  </a:lnTo>
                  <a:lnTo>
                    <a:pt x="1117" y="646"/>
                  </a:lnTo>
                  <a:lnTo>
                    <a:pt x="1111" y="646"/>
                  </a:lnTo>
                  <a:lnTo>
                    <a:pt x="1111" y="651"/>
                  </a:lnTo>
                  <a:lnTo>
                    <a:pt x="1105" y="651"/>
                  </a:lnTo>
                  <a:lnTo>
                    <a:pt x="1105" y="657"/>
                  </a:lnTo>
                  <a:lnTo>
                    <a:pt x="1100" y="657"/>
                  </a:lnTo>
                  <a:lnTo>
                    <a:pt x="1094" y="663"/>
                  </a:lnTo>
                  <a:lnTo>
                    <a:pt x="1088" y="663"/>
                  </a:lnTo>
                  <a:lnTo>
                    <a:pt x="1083" y="668"/>
                  </a:lnTo>
                  <a:lnTo>
                    <a:pt x="1083" y="674"/>
                  </a:lnTo>
                  <a:lnTo>
                    <a:pt x="1077" y="674"/>
                  </a:lnTo>
                  <a:lnTo>
                    <a:pt x="1071" y="674"/>
                  </a:lnTo>
                  <a:lnTo>
                    <a:pt x="1071" y="680"/>
                  </a:lnTo>
                  <a:lnTo>
                    <a:pt x="1066" y="680"/>
                  </a:lnTo>
                  <a:lnTo>
                    <a:pt x="1060" y="685"/>
                  </a:lnTo>
                  <a:lnTo>
                    <a:pt x="1054" y="691"/>
                  </a:lnTo>
                  <a:lnTo>
                    <a:pt x="1048" y="691"/>
                  </a:lnTo>
                  <a:lnTo>
                    <a:pt x="1043" y="691"/>
                  </a:lnTo>
                  <a:lnTo>
                    <a:pt x="1043" y="697"/>
                  </a:lnTo>
                  <a:lnTo>
                    <a:pt x="1037" y="702"/>
                  </a:lnTo>
                  <a:lnTo>
                    <a:pt x="1031" y="702"/>
                  </a:lnTo>
                  <a:lnTo>
                    <a:pt x="1026" y="702"/>
                  </a:lnTo>
                  <a:lnTo>
                    <a:pt x="1020" y="708"/>
                  </a:lnTo>
                  <a:lnTo>
                    <a:pt x="1014" y="708"/>
                  </a:lnTo>
                  <a:lnTo>
                    <a:pt x="1009" y="714"/>
                  </a:lnTo>
                  <a:lnTo>
                    <a:pt x="997" y="714"/>
                  </a:lnTo>
                  <a:lnTo>
                    <a:pt x="992" y="719"/>
                  </a:lnTo>
                  <a:lnTo>
                    <a:pt x="986" y="719"/>
                  </a:lnTo>
                  <a:lnTo>
                    <a:pt x="980" y="719"/>
                  </a:lnTo>
                  <a:lnTo>
                    <a:pt x="969" y="719"/>
                  </a:lnTo>
                  <a:lnTo>
                    <a:pt x="958" y="719"/>
                  </a:lnTo>
                  <a:lnTo>
                    <a:pt x="952" y="725"/>
                  </a:lnTo>
                  <a:lnTo>
                    <a:pt x="952" y="731"/>
                  </a:lnTo>
                  <a:lnTo>
                    <a:pt x="946" y="736"/>
                  </a:lnTo>
                  <a:lnTo>
                    <a:pt x="941" y="736"/>
                  </a:lnTo>
                  <a:lnTo>
                    <a:pt x="941" y="742"/>
                  </a:lnTo>
                  <a:lnTo>
                    <a:pt x="941" y="748"/>
                  </a:lnTo>
                  <a:lnTo>
                    <a:pt x="929" y="748"/>
                  </a:lnTo>
                  <a:lnTo>
                    <a:pt x="924" y="748"/>
                  </a:lnTo>
                  <a:lnTo>
                    <a:pt x="918" y="748"/>
                  </a:lnTo>
                  <a:lnTo>
                    <a:pt x="912" y="748"/>
                  </a:lnTo>
                  <a:lnTo>
                    <a:pt x="907" y="742"/>
                  </a:lnTo>
                  <a:lnTo>
                    <a:pt x="901" y="742"/>
                  </a:lnTo>
                  <a:lnTo>
                    <a:pt x="895" y="742"/>
                  </a:lnTo>
                  <a:lnTo>
                    <a:pt x="895" y="736"/>
                  </a:lnTo>
                  <a:lnTo>
                    <a:pt x="884" y="736"/>
                  </a:lnTo>
                  <a:lnTo>
                    <a:pt x="878" y="736"/>
                  </a:lnTo>
                  <a:lnTo>
                    <a:pt x="873" y="731"/>
                  </a:lnTo>
                  <a:lnTo>
                    <a:pt x="867" y="731"/>
                  </a:lnTo>
                  <a:lnTo>
                    <a:pt x="867" y="736"/>
                  </a:lnTo>
                  <a:lnTo>
                    <a:pt x="856" y="736"/>
                  </a:lnTo>
                  <a:lnTo>
                    <a:pt x="856" y="742"/>
                  </a:lnTo>
                  <a:lnTo>
                    <a:pt x="850" y="748"/>
                  </a:lnTo>
                  <a:lnTo>
                    <a:pt x="850" y="759"/>
                  </a:lnTo>
                  <a:lnTo>
                    <a:pt x="856" y="765"/>
                  </a:lnTo>
                  <a:lnTo>
                    <a:pt x="856" y="770"/>
                  </a:lnTo>
                  <a:lnTo>
                    <a:pt x="856" y="776"/>
                  </a:lnTo>
                  <a:lnTo>
                    <a:pt x="856" y="782"/>
                  </a:lnTo>
                  <a:lnTo>
                    <a:pt x="861" y="787"/>
                  </a:lnTo>
                  <a:lnTo>
                    <a:pt x="867" y="787"/>
                  </a:lnTo>
                  <a:lnTo>
                    <a:pt x="867" y="799"/>
                  </a:lnTo>
                  <a:lnTo>
                    <a:pt x="867" y="804"/>
                  </a:lnTo>
                  <a:lnTo>
                    <a:pt x="873" y="804"/>
                  </a:lnTo>
                  <a:lnTo>
                    <a:pt x="873" y="810"/>
                  </a:lnTo>
                  <a:lnTo>
                    <a:pt x="873" y="816"/>
                  </a:lnTo>
                  <a:lnTo>
                    <a:pt x="873" y="821"/>
                  </a:lnTo>
                  <a:lnTo>
                    <a:pt x="873" y="827"/>
                  </a:lnTo>
                  <a:lnTo>
                    <a:pt x="873" y="833"/>
                  </a:lnTo>
                  <a:lnTo>
                    <a:pt x="867" y="833"/>
                  </a:lnTo>
                  <a:lnTo>
                    <a:pt x="867" y="838"/>
                  </a:lnTo>
                  <a:lnTo>
                    <a:pt x="861" y="844"/>
                  </a:lnTo>
                  <a:lnTo>
                    <a:pt x="856" y="844"/>
                  </a:lnTo>
                  <a:lnTo>
                    <a:pt x="844" y="855"/>
                  </a:lnTo>
                  <a:lnTo>
                    <a:pt x="839" y="855"/>
                  </a:lnTo>
                  <a:lnTo>
                    <a:pt x="839" y="861"/>
                  </a:lnTo>
                  <a:lnTo>
                    <a:pt x="833" y="861"/>
                  </a:lnTo>
                  <a:lnTo>
                    <a:pt x="833" y="867"/>
                  </a:lnTo>
                  <a:lnTo>
                    <a:pt x="827" y="867"/>
                  </a:lnTo>
                  <a:lnTo>
                    <a:pt x="827" y="872"/>
                  </a:lnTo>
                  <a:lnTo>
                    <a:pt x="822" y="872"/>
                  </a:lnTo>
                  <a:lnTo>
                    <a:pt x="810" y="884"/>
                  </a:lnTo>
                  <a:lnTo>
                    <a:pt x="805" y="884"/>
                  </a:lnTo>
                  <a:lnTo>
                    <a:pt x="799" y="884"/>
                  </a:lnTo>
                  <a:lnTo>
                    <a:pt x="793" y="878"/>
                  </a:lnTo>
                  <a:lnTo>
                    <a:pt x="788" y="878"/>
                  </a:lnTo>
                  <a:lnTo>
                    <a:pt x="788" y="872"/>
                  </a:lnTo>
                  <a:lnTo>
                    <a:pt x="788" y="867"/>
                  </a:lnTo>
                  <a:lnTo>
                    <a:pt x="782" y="861"/>
                  </a:lnTo>
                  <a:lnTo>
                    <a:pt x="782" y="855"/>
                  </a:lnTo>
                  <a:lnTo>
                    <a:pt x="782" y="850"/>
                  </a:lnTo>
                  <a:lnTo>
                    <a:pt x="776" y="850"/>
                  </a:lnTo>
                  <a:lnTo>
                    <a:pt x="771" y="844"/>
                  </a:lnTo>
                  <a:lnTo>
                    <a:pt x="771" y="838"/>
                  </a:lnTo>
                  <a:lnTo>
                    <a:pt x="771" y="833"/>
                  </a:lnTo>
                  <a:lnTo>
                    <a:pt x="765" y="833"/>
                  </a:lnTo>
                  <a:lnTo>
                    <a:pt x="759" y="833"/>
                  </a:lnTo>
                  <a:lnTo>
                    <a:pt x="754" y="827"/>
                  </a:lnTo>
                  <a:lnTo>
                    <a:pt x="748" y="821"/>
                  </a:lnTo>
                  <a:lnTo>
                    <a:pt x="742" y="821"/>
                  </a:lnTo>
                  <a:lnTo>
                    <a:pt x="737" y="827"/>
                  </a:lnTo>
                  <a:lnTo>
                    <a:pt x="731" y="827"/>
                  </a:lnTo>
                  <a:lnTo>
                    <a:pt x="725" y="827"/>
                  </a:lnTo>
                  <a:lnTo>
                    <a:pt x="720" y="827"/>
                  </a:lnTo>
                  <a:lnTo>
                    <a:pt x="714" y="827"/>
                  </a:lnTo>
                  <a:lnTo>
                    <a:pt x="703" y="827"/>
                  </a:lnTo>
                  <a:lnTo>
                    <a:pt x="697" y="827"/>
                  </a:lnTo>
                  <a:lnTo>
                    <a:pt x="686" y="827"/>
                  </a:lnTo>
                  <a:lnTo>
                    <a:pt x="674" y="821"/>
                  </a:lnTo>
                  <a:lnTo>
                    <a:pt x="663" y="821"/>
                  </a:lnTo>
                  <a:lnTo>
                    <a:pt x="663" y="816"/>
                  </a:lnTo>
                  <a:lnTo>
                    <a:pt x="657" y="816"/>
                  </a:lnTo>
                  <a:lnTo>
                    <a:pt x="652" y="816"/>
                  </a:lnTo>
                  <a:lnTo>
                    <a:pt x="640" y="810"/>
                  </a:lnTo>
                  <a:lnTo>
                    <a:pt x="635" y="810"/>
                  </a:lnTo>
                  <a:lnTo>
                    <a:pt x="629" y="810"/>
                  </a:lnTo>
                  <a:lnTo>
                    <a:pt x="618" y="804"/>
                  </a:lnTo>
                  <a:lnTo>
                    <a:pt x="612" y="804"/>
                  </a:lnTo>
                  <a:lnTo>
                    <a:pt x="606" y="804"/>
                  </a:lnTo>
                  <a:lnTo>
                    <a:pt x="606" y="799"/>
                  </a:lnTo>
                  <a:lnTo>
                    <a:pt x="601" y="799"/>
                  </a:lnTo>
                  <a:lnTo>
                    <a:pt x="595" y="799"/>
                  </a:lnTo>
                  <a:lnTo>
                    <a:pt x="589" y="793"/>
                  </a:lnTo>
                  <a:lnTo>
                    <a:pt x="584" y="787"/>
                  </a:lnTo>
                  <a:lnTo>
                    <a:pt x="578" y="787"/>
                  </a:lnTo>
                  <a:lnTo>
                    <a:pt x="567" y="793"/>
                  </a:lnTo>
                  <a:lnTo>
                    <a:pt x="561" y="793"/>
                  </a:lnTo>
                  <a:lnTo>
                    <a:pt x="555" y="799"/>
                  </a:lnTo>
                  <a:lnTo>
                    <a:pt x="550" y="799"/>
                  </a:lnTo>
                  <a:lnTo>
                    <a:pt x="544" y="804"/>
                  </a:lnTo>
                  <a:lnTo>
                    <a:pt x="521" y="821"/>
                  </a:lnTo>
                  <a:lnTo>
                    <a:pt x="516" y="821"/>
                  </a:lnTo>
                  <a:lnTo>
                    <a:pt x="516" y="827"/>
                  </a:lnTo>
                  <a:lnTo>
                    <a:pt x="516" y="833"/>
                  </a:lnTo>
                  <a:lnTo>
                    <a:pt x="510" y="833"/>
                  </a:lnTo>
                  <a:lnTo>
                    <a:pt x="510" y="838"/>
                  </a:lnTo>
                  <a:lnTo>
                    <a:pt x="510" y="844"/>
                  </a:lnTo>
                  <a:lnTo>
                    <a:pt x="504" y="844"/>
                  </a:lnTo>
                  <a:lnTo>
                    <a:pt x="504" y="855"/>
                  </a:lnTo>
                  <a:lnTo>
                    <a:pt x="510" y="861"/>
                  </a:lnTo>
                  <a:lnTo>
                    <a:pt x="510" y="867"/>
                  </a:lnTo>
                  <a:lnTo>
                    <a:pt x="516" y="867"/>
                  </a:lnTo>
                  <a:lnTo>
                    <a:pt x="516" y="872"/>
                  </a:lnTo>
                  <a:lnTo>
                    <a:pt x="516" y="884"/>
                  </a:lnTo>
                  <a:lnTo>
                    <a:pt x="521" y="884"/>
                  </a:lnTo>
                  <a:lnTo>
                    <a:pt x="521" y="889"/>
                  </a:lnTo>
                  <a:lnTo>
                    <a:pt x="521" y="895"/>
                  </a:lnTo>
                  <a:lnTo>
                    <a:pt x="527" y="901"/>
                  </a:lnTo>
                  <a:lnTo>
                    <a:pt x="527" y="906"/>
                  </a:lnTo>
                  <a:lnTo>
                    <a:pt x="533" y="912"/>
                  </a:lnTo>
                  <a:lnTo>
                    <a:pt x="533" y="918"/>
                  </a:lnTo>
                  <a:lnTo>
                    <a:pt x="533" y="924"/>
                  </a:lnTo>
                  <a:lnTo>
                    <a:pt x="533" y="929"/>
                  </a:lnTo>
                  <a:lnTo>
                    <a:pt x="527" y="929"/>
                  </a:lnTo>
                  <a:lnTo>
                    <a:pt x="521" y="929"/>
                  </a:lnTo>
                  <a:lnTo>
                    <a:pt x="521" y="924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04" y="912"/>
                  </a:lnTo>
                  <a:lnTo>
                    <a:pt x="499" y="912"/>
                  </a:lnTo>
                  <a:lnTo>
                    <a:pt x="493" y="912"/>
                  </a:lnTo>
                  <a:lnTo>
                    <a:pt x="487" y="906"/>
                  </a:lnTo>
                  <a:lnTo>
                    <a:pt x="482" y="901"/>
                  </a:lnTo>
                  <a:lnTo>
                    <a:pt x="476" y="901"/>
                  </a:lnTo>
                  <a:lnTo>
                    <a:pt x="470" y="895"/>
                  </a:lnTo>
                  <a:lnTo>
                    <a:pt x="465" y="895"/>
                  </a:lnTo>
                  <a:lnTo>
                    <a:pt x="459" y="889"/>
                  </a:lnTo>
                  <a:lnTo>
                    <a:pt x="453" y="889"/>
                  </a:lnTo>
                  <a:lnTo>
                    <a:pt x="448" y="889"/>
                  </a:lnTo>
                  <a:lnTo>
                    <a:pt x="442" y="889"/>
                  </a:lnTo>
                  <a:lnTo>
                    <a:pt x="436" y="884"/>
                  </a:lnTo>
                  <a:lnTo>
                    <a:pt x="431" y="884"/>
                  </a:lnTo>
                  <a:lnTo>
                    <a:pt x="425" y="884"/>
                  </a:lnTo>
                  <a:lnTo>
                    <a:pt x="414" y="872"/>
                  </a:lnTo>
                  <a:lnTo>
                    <a:pt x="408" y="872"/>
                  </a:lnTo>
                  <a:lnTo>
                    <a:pt x="402" y="872"/>
                  </a:lnTo>
                  <a:lnTo>
                    <a:pt x="397" y="872"/>
                  </a:lnTo>
                  <a:lnTo>
                    <a:pt x="397" y="867"/>
                  </a:lnTo>
                  <a:lnTo>
                    <a:pt x="391" y="867"/>
                  </a:lnTo>
                  <a:lnTo>
                    <a:pt x="385" y="861"/>
                  </a:lnTo>
                  <a:lnTo>
                    <a:pt x="380" y="861"/>
                  </a:lnTo>
                  <a:lnTo>
                    <a:pt x="368" y="861"/>
                  </a:lnTo>
                  <a:lnTo>
                    <a:pt x="363" y="861"/>
                  </a:lnTo>
                  <a:lnTo>
                    <a:pt x="363" y="855"/>
                  </a:lnTo>
                  <a:lnTo>
                    <a:pt x="351" y="855"/>
                  </a:lnTo>
                  <a:lnTo>
                    <a:pt x="346" y="855"/>
                  </a:lnTo>
                  <a:lnTo>
                    <a:pt x="334" y="855"/>
                  </a:lnTo>
                  <a:lnTo>
                    <a:pt x="317" y="850"/>
                  </a:lnTo>
                  <a:lnTo>
                    <a:pt x="306" y="850"/>
                  </a:lnTo>
                  <a:lnTo>
                    <a:pt x="306" y="844"/>
                  </a:lnTo>
                  <a:lnTo>
                    <a:pt x="295" y="844"/>
                  </a:lnTo>
                  <a:lnTo>
                    <a:pt x="289" y="844"/>
                  </a:lnTo>
                  <a:lnTo>
                    <a:pt x="278" y="838"/>
                  </a:lnTo>
                  <a:lnTo>
                    <a:pt x="266" y="833"/>
                  </a:lnTo>
                  <a:lnTo>
                    <a:pt x="261" y="833"/>
                  </a:lnTo>
                  <a:lnTo>
                    <a:pt x="255" y="833"/>
                  </a:lnTo>
                  <a:lnTo>
                    <a:pt x="249" y="833"/>
                  </a:lnTo>
                  <a:lnTo>
                    <a:pt x="244" y="827"/>
                  </a:lnTo>
                  <a:lnTo>
                    <a:pt x="238" y="827"/>
                  </a:lnTo>
                  <a:close/>
                </a:path>
              </a:pathLst>
            </a:custGeom>
            <a:solidFill>
              <a:srgbClr val="F2F2F2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7" name="Freeform 26"/>
            <p:cNvSpPr>
              <a:spLocks noEditPoints="1"/>
            </p:cNvSpPr>
            <p:nvPr/>
          </p:nvSpPr>
          <p:spPr bwMode="gray">
            <a:xfrm>
              <a:off x="1526891" y="4516910"/>
              <a:ext cx="1106001" cy="703355"/>
            </a:xfrm>
            <a:custGeom>
              <a:avLst/>
              <a:gdLst>
                <a:gd name="T0" fmla="*/ 2147483647 w 788"/>
                <a:gd name="T1" fmla="*/ 2147483647 h 527"/>
                <a:gd name="T2" fmla="*/ 2147483647 w 788"/>
                <a:gd name="T3" fmla="*/ 2147483647 h 527"/>
                <a:gd name="T4" fmla="*/ 2147483647 w 788"/>
                <a:gd name="T5" fmla="*/ 2147483647 h 527"/>
                <a:gd name="T6" fmla="*/ 2147483647 w 788"/>
                <a:gd name="T7" fmla="*/ 2147483647 h 527"/>
                <a:gd name="T8" fmla="*/ 2147483647 w 788"/>
                <a:gd name="T9" fmla="*/ 2147483647 h 527"/>
                <a:gd name="T10" fmla="*/ 2147483647 w 788"/>
                <a:gd name="T11" fmla="*/ 2147483647 h 527"/>
                <a:gd name="T12" fmla="*/ 2147483647 w 788"/>
                <a:gd name="T13" fmla="*/ 2147483647 h 527"/>
                <a:gd name="T14" fmla="*/ 2147483647 w 788"/>
                <a:gd name="T15" fmla="*/ 2147483647 h 527"/>
                <a:gd name="T16" fmla="*/ 2147483647 w 788"/>
                <a:gd name="T17" fmla="*/ 2147483647 h 527"/>
                <a:gd name="T18" fmla="*/ 2147483647 w 788"/>
                <a:gd name="T19" fmla="*/ 2147483647 h 527"/>
                <a:gd name="T20" fmla="*/ 2147483647 w 788"/>
                <a:gd name="T21" fmla="*/ 2147483647 h 527"/>
                <a:gd name="T22" fmla="*/ 2147483647 w 788"/>
                <a:gd name="T23" fmla="*/ 2147483647 h 527"/>
                <a:gd name="T24" fmla="*/ 2147483647 w 788"/>
                <a:gd name="T25" fmla="*/ 2147483647 h 527"/>
                <a:gd name="T26" fmla="*/ 2147483647 w 788"/>
                <a:gd name="T27" fmla="*/ 2147483647 h 527"/>
                <a:gd name="T28" fmla="*/ 2147483647 w 788"/>
                <a:gd name="T29" fmla="*/ 2147483647 h 527"/>
                <a:gd name="T30" fmla="*/ 2147483647 w 788"/>
                <a:gd name="T31" fmla="*/ 2147483647 h 527"/>
                <a:gd name="T32" fmla="*/ 2147483647 w 788"/>
                <a:gd name="T33" fmla="*/ 2147483647 h 527"/>
                <a:gd name="T34" fmla="*/ 2147483647 w 788"/>
                <a:gd name="T35" fmla="*/ 2147483647 h 527"/>
                <a:gd name="T36" fmla="*/ 2147483647 w 788"/>
                <a:gd name="T37" fmla="*/ 2147483647 h 527"/>
                <a:gd name="T38" fmla="*/ 2147483647 w 788"/>
                <a:gd name="T39" fmla="*/ 2147483647 h 527"/>
                <a:gd name="T40" fmla="*/ 2147483647 w 788"/>
                <a:gd name="T41" fmla="*/ 2147483647 h 527"/>
                <a:gd name="T42" fmla="*/ 2147483647 w 788"/>
                <a:gd name="T43" fmla="*/ 2147483647 h 527"/>
                <a:gd name="T44" fmla="*/ 2147483647 w 788"/>
                <a:gd name="T45" fmla="*/ 2147483647 h 527"/>
                <a:gd name="T46" fmla="*/ 2147483647 w 788"/>
                <a:gd name="T47" fmla="*/ 2147483647 h 527"/>
                <a:gd name="T48" fmla="*/ 2147483647 w 788"/>
                <a:gd name="T49" fmla="*/ 2147483647 h 527"/>
                <a:gd name="T50" fmla="*/ 2147483647 w 788"/>
                <a:gd name="T51" fmla="*/ 2147483647 h 527"/>
                <a:gd name="T52" fmla="*/ 0 w 788"/>
                <a:gd name="T53" fmla="*/ 2147483647 h 527"/>
                <a:gd name="T54" fmla="*/ 2147483647 w 788"/>
                <a:gd name="T55" fmla="*/ 2147483647 h 527"/>
                <a:gd name="T56" fmla="*/ 2147483647 w 788"/>
                <a:gd name="T57" fmla="*/ 2147483647 h 527"/>
                <a:gd name="T58" fmla="*/ 2147483647 w 788"/>
                <a:gd name="T59" fmla="*/ 2147483647 h 527"/>
                <a:gd name="T60" fmla="*/ 2147483647 w 788"/>
                <a:gd name="T61" fmla="*/ 2147483647 h 527"/>
                <a:gd name="T62" fmla="*/ 2147483647 w 788"/>
                <a:gd name="T63" fmla="*/ 2147483647 h 527"/>
                <a:gd name="T64" fmla="*/ 2147483647 w 788"/>
                <a:gd name="T65" fmla="*/ 2147483647 h 527"/>
                <a:gd name="T66" fmla="*/ 2147483647 w 788"/>
                <a:gd name="T67" fmla="*/ 2147483647 h 527"/>
                <a:gd name="T68" fmla="*/ 2147483647 w 788"/>
                <a:gd name="T69" fmla="*/ 2147483647 h 527"/>
                <a:gd name="T70" fmla="*/ 2147483647 w 788"/>
                <a:gd name="T71" fmla="*/ 2147483647 h 527"/>
                <a:gd name="T72" fmla="*/ 2147483647 w 788"/>
                <a:gd name="T73" fmla="*/ 2147483647 h 527"/>
                <a:gd name="T74" fmla="*/ 2147483647 w 788"/>
                <a:gd name="T75" fmla="*/ 2147483647 h 527"/>
                <a:gd name="T76" fmla="*/ 2147483647 w 788"/>
                <a:gd name="T77" fmla="*/ 2147483647 h 527"/>
                <a:gd name="T78" fmla="*/ 2147483647 w 788"/>
                <a:gd name="T79" fmla="*/ 2147483647 h 527"/>
                <a:gd name="T80" fmla="*/ 2147483647 w 788"/>
                <a:gd name="T81" fmla="*/ 2147483647 h 527"/>
                <a:gd name="T82" fmla="*/ 2147483647 w 788"/>
                <a:gd name="T83" fmla="*/ 2147483647 h 527"/>
                <a:gd name="T84" fmla="*/ 2147483647 w 788"/>
                <a:gd name="T85" fmla="*/ 2147483647 h 527"/>
                <a:gd name="T86" fmla="*/ 2147483647 w 788"/>
                <a:gd name="T87" fmla="*/ 2147483647 h 527"/>
                <a:gd name="T88" fmla="*/ 2147483647 w 788"/>
                <a:gd name="T89" fmla="*/ 2147483647 h 527"/>
                <a:gd name="T90" fmla="*/ 2147483647 w 788"/>
                <a:gd name="T91" fmla="*/ 2147483647 h 527"/>
                <a:gd name="T92" fmla="*/ 2147483647 w 788"/>
                <a:gd name="T93" fmla="*/ 2147483647 h 527"/>
                <a:gd name="T94" fmla="*/ 2147483647 w 788"/>
                <a:gd name="T95" fmla="*/ 2147483647 h 527"/>
                <a:gd name="T96" fmla="*/ 2147483647 w 788"/>
                <a:gd name="T97" fmla="*/ 2147483647 h 527"/>
                <a:gd name="T98" fmla="*/ 2147483647 w 788"/>
                <a:gd name="T99" fmla="*/ 2147483647 h 527"/>
                <a:gd name="T100" fmla="*/ 2147483647 w 788"/>
                <a:gd name="T101" fmla="*/ 2147483647 h 527"/>
                <a:gd name="T102" fmla="*/ 2147483647 w 788"/>
                <a:gd name="T103" fmla="*/ 2147483647 h 527"/>
                <a:gd name="T104" fmla="*/ 2147483647 w 788"/>
                <a:gd name="T105" fmla="*/ 2147483647 h 527"/>
                <a:gd name="T106" fmla="*/ 2147483647 w 788"/>
                <a:gd name="T107" fmla="*/ 2147483647 h 527"/>
                <a:gd name="T108" fmla="*/ 2147483647 w 788"/>
                <a:gd name="T109" fmla="*/ 2147483647 h 527"/>
                <a:gd name="T110" fmla="*/ 2147483647 w 788"/>
                <a:gd name="T111" fmla="*/ 2147483647 h 527"/>
                <a:gd name="T112" fmla="*/ 2147483647 w 788"/>
                <a:gd name="T113" fmla="*/ 2147483647 h 527"/>
                <a:gd name="T114" fmla="*/ 2147483647 w 788"/>
                <a:gd name="T115" fmla="*/ 2147483647 h 527"/>
                <a:gd name="T116" fmla="*/ 2147483647 w 788"/>
                <a:gd name="T117" fmla="*/ 2147483647 h 527"/>
                <a:gd name="T118" fmla="*/ 2147483647 w 788"/>
                <a:gd name="T119" fmla="*/ 2147483647 h 527"/>
                <a:gd name="T120" fmla="*/ 2147483647 w 788"/>
                <a:gd name="T121" fmla="*/ 2147483647 h 527"/>
                <a:gd name="T122" fmla="*/ 2147483647 w 788"/>
                <a:gd name="T123" fmla="*/ 2147483647 h 527"/>
                <a:gd name="T124" fmla="*/ 2147483647 w 788"/>
                <a:gd name="T125" fmla="*/ 2147483647 h 52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88"/>
                <a:gd name="T190" fmla="*/ 0 h 527"/>
                <a:gd name="T191" fmla="*/ 788 w 788"/>
                <a:gd name="T192" fmla="*/ 527 h 52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88" h="527">
                  <a:moveTo>
                    <a:pt x="130" y="448"/>
                  </a:moveTo>
                  <a:lnTo>
                    <a:pt x="125" y="442"/>
                  </a:lnTo>
                  <a:lnTo>
                    <a:pt x="130" y="448"/>
                  </a:lnTo>
                  <a:lnTo>
                    <a:pt x="136" y="448"/>
                  </a:lnTo>
                  <a:lnTo>
                    <a:pt x="130" y="453"/>
                  </a:lnTo>
                  <a:lnTo>
                    <a:pt x="130" y="448"/>
                  </a:lnTo>
                  <a:close/>
                  <a:moveTo>
                    <a:pt x="788" y="448"/>
                  </a:moveTo>
                  <a:lnTo>
                    <a:pt x="788" y="453"/>
                  </a:lnTo>
                  <a:lnTo>
                    <a:pt x="788" y="459"/>
                  </a:lnTo>
                  <a:lnTo>
                    <a:pt x="788" y="465"/>
                  </a:lnTo>
                  <a:lnTo>
                    <a:pt x="782" y="465"/>
                  </a:lnTo>
                  <a:lnTo>
                    <a:pt x="765" y="465"/>
                  </a:lnTo>
                  <a:lnTo>
                    <a:pt x="754" y="465"/>
                  </a:lnTo>
                  <a:lnTo>
                    <a:pt x="743" y="465"/>
                  </a:lnTo>
                  <a:lnTo>
                    <a:pt x="737" y="470"/>
                  </a:lnTo>
                  <a:lnTo>
                    <a:pt x="731" y="470"/>
                  </a:lnTo>
                  <a:lnTo>
                    <a:pt x="726" y="470"/>
                  </a:lnTo>
                  <a:lnTo>
                    <a:pt x="720" y="470"/>
                  </a:lnTo>
                  <a:lnTo>
                    <a:pt x="708" y="465"/>
                  </a:lnTo>
                  <a:lnTo>
                    <a:pt x="697" y="465"/>
                  </a:lnTo>
                  <a:lnTo>
                    <a:pt x="691" y="465"/>
                  </a:lnTo>
                  <a:lnTo>
                    <a:pt x="691" y="470"/>
                  </a:lnTo>
                  <a:lnTo>
                    <a:pt x="686" y="476"/>
                  </a:lnTo>
                  <a:lnTo>
                    <a:pt x="680" y="476"/>
                  </a:lnTo>
                  <a:lnTo>
                    <a:pt x="674" y="476"/>
                  </a:lnTo>
                  <a:lnTo>
                    <a:pt x="669" y="482"/>
                  </a:lnTo>
                  <a:lnTo>
                    <a:pt x="657" y="482"/>
                  </a:lnTo>
                  <a:lnTo>
                    <a:pt x="657" y="487"/>
                  </a:lnTo>
                  <a:lnTo>
                    <a:pt x="652" y="487"/>
                  </a:lnTo>
                  <a:lnTo>
                    <a:pt x="646" y="487"/>
                  </a:lnTo>
                  <a:lnTo>
                    <a:pt x="635" y="487"/>
                  </a:lnTo>
                  <a:lnTo>
                    <a:pt x="629" y="487"/>
                  </a:lnTo>
                  <a:lnTo>
                    <a:pt x="623" y="487"/>
                  </a:lnTo>
                  <a:lnTo>
                    <a:pt x="623" y="482"/>
                  </a:lnTo>
                  <a:lnTo>
                    <a:pt x="623" y="476"/>
                  </a:lnTo>
                  <a:lnTo>
                    <a:pt x="629" y="476"/>
                  </a:lnTo>
                  <a:lnTo>
                    <a:pt x="629" y="482"/>
                  </a:lnTo>
                  <a:lnTo>
                    <a:pt x="629" y="476"/>
                  </a:lnTo>
                  <a:lnTo>
                    <a:pt x="635" y="465"/>
                  </a:lnTo>
                  <a:lnTo>
                    <a:pt x="635" y="459"/>
                  </a:lnTo>
                  <a:lnTo>
                    <a:pt x="629" y="459"/>
                  </a:lnTo>
                  <a:lnTo>
                    <a:pt x="629" y="453"/>
                  </a:lnTo>
                  <a:lnTo>
                    <a:pt x="623" y="459"/>
                  </a:lnTo>
                  <a:lnTo>
                    <a:pt x="618" y="459"/>
                  </a:lnTo>
                  <a:lnTo>
                    <a:pt x="612" y="459"/>
                  </a:lnTo>
                  <a:lnTo>
                    <a:pt x="612" y="465"/>
                  </a:lnTo>
                  <a:lnTo>
                    <a:pt x="618" y="465"/>
                  </a:lnTo>
                  <a:lnTo>
                    <a:pt x="612" y="465"/>
                  </a:lnTo>
                  <a:lnTo>
                    <a:pt x="606" y="465"/>
                  </a:lnTo>
                  <a:lnTo>
                    <a:pt x="601" y="465"/>
                  </a:lnTo>
                  <a:lnTo>
                    <a:pt x="589" y="470"/>
                  </a:lnTo>
                  <a:lnTo>
                    <a:pt x="584" y="465"/>
                  </a:lnTo>
                  <a:lnTo>
                    <a:pt x="589" y="465"/>
                  </a:lnTo>
                  <a:lnTo>
                    <a:pt x="584" y="459"/>
                  </a:lnTo>
                  <a:lnTo>
                    <a:pt x="578" y="459"/>
                  </a:lnTo>
                  <a:lnTo>
                    <a:pt x="572" y="465"/>
                  </a:lnTo>
                  <a:lnTo>
                    <a:pt x="578" y="470"/>
                  </a:lnTo>
                  <a:lnTo>
                    <a:pt x="578" y="476"/>
                  </a:lnTo>
                  <a:lnTo>
                    <a:pt x="584" y="476"/>
                  </a:lnTo>
                  <a:lnTo>
                    <a:pt x="584" y="482"/>
                  </a:lnTo>
                  <a:lnTo>
                    <a:pt x="578" y="487"/>
                  </a:lnTo>
                  <a:lnTo>
                    <a:pt x="584" y="487"/>
                  </a:lnTo>
                  <a:lnTo>
                    <a:pt x="584" y="482"/>
                  </a:lnTo>
                  <a:lnTo>
                    <a:pt x="584" y="487"/>
                  </a:lnTo>
                  <a:lnTo>
                    <a:pt x="578" y="493"/>
                  </a:lnTo>
                  <a:lnTo>
                    <a:pt x="572" y="493"/>
                  </a:lnTo>
                  <a:lnTo>
                    <a:pt x="572" y="487"/>
                  </a:lnTo>
                  <a:lnTo>
                    <a:pt x="567" y="487"/>
                  </a:lnTo>
                  <a:lnTo>
                    <a:pt x="567" y="493"/>
                  </a:lnTo>
                  <a:lnTo>
                    <a:pt x="561" y="493"/>
                  </a:lnTo>
                  <a:lnTo>
                    <a:pt x="555" y="487"/>
                  </a:lnTo>
                  <a:lnTo>
                    <a:pt x="544" y="487"/>
                  </a:lnTo>
                  <a:lnTo>
                    <a:pt x="533" y="482"/>
                  </a:lnTo>
                  <a:lnTo>
                    <a:pt x="527" y="493"/>
                  </a:lnTo>
                  <a:lnTo>
                    <a:pt x="533" y="493"/>
                  </a:lnTo>
                  <a:lnTo>
                    <a:pt x="527" y="499"/>
                  </a:lnTo>
                  <a:lnTo>
                    <a:pt x="521" y="499"/>
                  </a:lnTo>
                  <a:lnTo>
                    <a:pt x="510" y="499"/>
                  </a:lnTo>
                  <a:lnTo>
                    <a:pt x="499" y="499"/>
                  </a:lnTo>
                  <a:lnTo>
                    <a:pt x="493" y="499"/>
                  </a:lnTo>
                  <a:lnTo>
                    <a:pt x="487" y="504"/>
                  </a:lnTo>
                  <a:lnTo>
                    <a:pt x="482" y="499"/>
                  </a:lnTo>
                  <a:lnTo>
                    <a:pt x="476" y="499"/>
                  </a:lnTo>
                  <a:lnTo>
                    <a:pt x="470" y="504"/>
                  </a:lnTo>
                  <a:lnTo>
                    <a:pt x="448" y="504"/>
                  </a:lnTo>
                  <a:lnTo>
                    <a:pt x="448" y="510"/>
                  </a:lnTo>
                  <a:lnTo>
                    <a:pt x="442" y="510"/>
                  </a:lnTo>
                  <a:lnTo>
                    <a:pt x="442" y="504"/>
                  </a:lnTo>
                  <a:lnTo>
                    <a:pt x="436" y="504"/>
                  </a:lnTo>
                  <a:lnTo>
                    <a:pt x="431" y="504"/>
                  </a:lnTo>
                  <a:lnTo>
                    <a:pt x="431" y="510"/>
                  </a:lnTo>
                  <a:lnTo>
                    <a:pt x="414" y="510"/>
                  </a:lnTo>
                  <a:lnTo>
                    <a:pt x="397" y="510"/>
                  </a:lnTo>
                  <a:lnTo>
                    <a:pt x="391" y="510"/>
                  </a:lnTo>
                  <a:lnTo>
                    <a:pt x="385" y="510"/>
                  </a:lnTo>
                  <a:lnTo>
                    <a:pt x="380" y="510"/>
                  </a:lnTo>
                  <a:lnTo>
                    <a:pt x="374" y="504"/>
                  </a:lnTo>
                  <a:lnTo>
                    <a:pt x="380" y="504"/>
                  </a:lnTo>
                  <a:lnTo>
                    <a:pt x="374" y="504"/>
                  </a:lnTo>
                  <a:lnTo>
                    <a:pt x="368" y="504"/>
                  </a:lnTo>
                  <a:lnTo>
                    <a:pt x="363" y="504"/>
                  </a:lnTo>
                  <a:lnTo>
                    <a:pt x="368" y="516"/>
                  </a:lnTo>
                  <a:lnTo>
                    <a:pt x="346" y="516"/>
                  </a:lnTo>
                  <a:lnTo>
                    <a:pt x="329" y="516"/>
                  </a:lnTo>
                  <a:lnTo>
                    <a:pt x="329" y="521"/>
                  </a:lnTo>
                  <a:lnTo>
                    <a:pt x="312" y="521"/>
                  </a:lnTo>
                  <a:lnTo>
                    <a:pt x="306" y="516"/>
                  </a:lnTo>
                  <a:lnTo>
                    <a:pt x="300" y="521"/>
                  </a:lnTo>
                  <a:lnTo>
                    <a:pt x="283" y="521"/>
                  </a:lnTo>
                  <a:lnTo>
                    <a:pt x="272" y="527"/>
                  </a:lnTo>
                  <a:lnTo>
                    <a:pt x="266" y="527"/>
                  </a:lnTo>
                  <a:lnTo>
                    <a:pt x="261" y="527"/>
                  </a:lnTo>
                  <a:lnTo>
                    <a:pt x="255" y="527"/>
                  </a:lnTo>
                  <a:lnTo>
                    <a:pt x="249" y="527"/>
                  </a:lnTo>
                  <a:lnTo>
                    <a:pt x="249" y="521"/>
                  </a:lnTo>
                  <a:lnTo>
                    <a:pt x="244" y="521"/>
                  </a:lnTo>
                  <a:lnTo>
                    <a:pt x="238" y="516"/>
                  </a:lnTo>
                  <a:lnTo>
                    <a:pt x="232" y="516"/>
                  </a:lnTo>
                  <a:lnTo>
                    <a:pt x="221" y="516"/>
                  </a:lnTo>
                  <a:lnTo>
                    <a:pt x="215" y="510"/>
                  </a:lnTo>
                  <a:lnTo>
                    <a:pt x="210" y="504"/>
                  </a:lnTo>
                  <a:lnTo>
                    <a:pt x="181" y="487"/>
                  </a:lnTo>
                  <a:lnTo>
                    <a:pt x="170" y="482"/>
                  </a:lnTo>
                  <a:lnTo>
                    <a:pt x="170" y="476"/>
                  </a:lnTo>
                  <a:lnTo>
                    <a:pt x="164" y="476"/>
                  </a:lnTo>
                  <a:lnTo>
                    <a:pt x="159" y="470"/>
                  </a:lnTo>
                  <a:lnTo>
                    <a:pt x="153" y="465"/>
                  </a:lnTo>
                  <a:lnTo>
                    <a:pt x="147" y="465"/>
                  </a:lnTo>
                  <a:lnTo>
                    <a:pt x="142" y="459"/>
                  </a:lnTo>
                  <a:lnTo>
                    <a:pt x="136" y="453"/>
                  </a:lnTo>
                  <a:lnTo>
                    <a:pt x="130" y="448"/>
                  </a:lnTo>
                  <a:lnTo>
                    <a:pt x="130" y="442"/>
                  </a:lnTo>
                  <a:lnTo>
                    <a:pt x="119" y="436"/>
                  </a:lnTo>
                  <a:lnTo>
                    <a:pt x="119" y="431"/>
                  </a:lnTo>
                  <a:lnTo>
                    <a:pt x="113" y="431"/>
                  </a:lnTo>
                  <a:lnTo>
                    <a:pt x="108" y="425"/>
                  </a:lnTo>
                  <a:lnTo>
                    <a:pt x="96" y="414"/>
                  </a:lnTo>
                  <a:lnTo>
                    <a:pt x="91" y="408"/>
                  </a:lnTo>
                  <a:lnTo>
                    <a:pt x="85" y="397"/>
                  </a:lnTo>
                  <a:lnTo>
                    <a:pt x="79" y="391"/>
                  </a:lnTo>
                  <a:lnTo>
                    <a:pt x="68" y="380"/>
                  </a:lnTo>
                  <a:lnTo>
                    <a:pt x="62" y="368"/>
                  </a:lnTo>
                  <a:lnTo>
                    <a:pt x="62" y="363"/>
                  </a:lnTo>
                  <a:lnTo>
                    <a:pt x="62" y="357"/>
                  </a:lnTo>
                  <a:lnTo>
                    <a:pt x="57" y="351"/>
                  </a:lnTo>
                  <a:lnTo>
                    <a:pt x="51" y="351"/>
                  </a:lnTo>
                  <a:lnTo>
                    <a:pt x="51" y="346"/>
                  </a:lnTo>
                  <a:lnTo>
                    <a:pt x="45" y="340"/>
                  </a:lnTo>
                  <a:lnTo>
                    <a:pt x="40" y="329"/>
                  </a:lnTo>
                  <a:lnTo>
                    <a:pt x="28" y="312"/>
                  </a:lnTo>
                  <a:lnTo>
                    <a:pt x="28" y="306"/>
                  </a:lnTo>
                  <a:lnTo>
                    <a:pt x="34" y="306"/>
                  </a:lnTo>
                  <a:lnTo>
                    <a:pt x="28" y="300"/>
                  </a:lnTo>
                  <a:lnTo>
                    <a:pt x="28" y="295"/>
                  </a:lnTo>
                  <a:lnTo>
                    <a:pt x="28" y="289"/>
                  </a:lnTo>
                  <a:lnTo>
                    <a:pt x="28" y="283"/>
                  </a:lnTo>
                  <a:lnTo>
                    <a:pt x="28" y="278"/>
                  </a:lnTo>
                  <a:lnTo>
                    <a:pt x="23" y="266"/>
                  </a:lnTo>
                  <a:lnTo>
                    <a:pt x="17" y="261"/>
                  </a:lnTo>
                  <a:lnTo>
                    <a:pt x="17" y="255"/>
                  </a:lnTo>
                  <a:lnTo>
                    <a:pt x="11" y="249"/>
                  </a:lnTo>
                  <a:lnTo>
                    <a:pt x="0" y="227"/>
                  </a:lnTo>
                  <a:lnTo>
                    <a:pt x="0" y="221"/>
                  </a:lnTo>
                  <a:lnTo>
                    <a:pt x="11" y="221"/>
                  </a:lnTo>
                  <a:lnTo>
                    <a:pt x="17" y="221"/>
                  </a:lnTo>
                  <a:lnTo>
                    <a:pt x="23" y="221"/>
                  </a:lnTo>
                  <a:lnTo>
                    <a:pt x="28" y="221"/>
                  </a:lnTo>
                  <a:lnTo>
                    <a:pt x="34" y="227"/>
                  </a:lnTo>
                  <a:lnTo>
                    <a:pt x="51" y="238"/>
                  </a:lnTo>
                  <a:lnTo>
                    <a:pt x="51" y="244"/>
                  </a:lnTo>
                  <a:lnTo>
                    <a:pt x="57" y="244"/>
                  </a:lnTo>
                  <a:lnTo>
                    <a:pt x="62" y="244"/>
                  </a:lnTo>
                  <a:lnTo>
                    <a:pt x="68" y="249"/>
                  </a:lnTo>
                  <a:lnTo>
                    <a:pt x="79" y="249"/>
                  </a:lnTo>
                  <a:lnTo>
                    <a:pt x="85" y="255"/>
                  </a:lnTo>
                  <a:lnTo>
                    <a:pt x="91" y="255"/>
                  </a:lnTo>
                  <a:lnTo>
                    <a:pt x="96" y="261"/>
                  </a:lnTo>
                  <a:lnTo>
                    <a:pt x="102" y="261"/>
                  </a:lnTo>
                  <a:lnTo>
                    <a:pt x="108" y="266"/>
                  </a:lnTo>
                  <a:lnTo>
                    <a:pt x="113" y="266"/>
                  </a:lnTo>
                  <a:lnTo>
                    <a:pt x="119" y="266"/>
                  </a:lnTo>
                  <a:lnTo>
                    <a:pt x="125" y="266"/>
                  </a:lnTo>
                  <a:lnTo>
                    <a:pt x="125" y="261"/>
                  </a:lnTo>
                  <a:lnTo>
                    <a:pt x="136" y="261"/>
                  </a:lnTo>
                  <a:lnTo>
                    <a:pt x="147" y="255"/>
                  </a:lnTo>
                  <a:lnTo>
                    <a:pt x="153" y="249"/>
                  </a:lnTo>
                  <a:lnTo>
                    <a:pt x="159" y="249"/>
                  </a:lnTo>
                  <a:lnTo>
                    <a:pt x="164" y="249"/>
                  </a:lnTo>
                  <a:lnTo>
                    <a:pt x="164" y="244"/>
                  </a:lnTo>
                  <a:lnTo>
                    <a:pt x="170" y="238"/>
                  </a:lnTo>
                  <a:lnTo>
                    <a:pt x="176" y="238"/>
                  </a:lnTo>
                  <a:lnTo>
                    <a:pt x="187" y="232"/>
                  </a:lnTo>
                  <a:lnTo>
                    <a:pt x="187" y="227"/>
                  </a:lnTo>
                  <a:lnTo>
                    <a:pt x="193" y="227"/>
                  </a:lnTo>
                  <a:lnTo>
                    <a:pt x="193" y="221"/>
                  </a:lnTo>
                  <a:lnTo>
                    <a:pt x="193" y="215"/>
                  </a:lnTo>
                  <a:lnTo>
                    <a:pt x="198" y="215"/>
                  </a:lnTo>
                  <a:lnTo>
                    <a:pt x="204" y="210"/>
                  </a:lnTo>
                  <a:lnTo>
                    <a:pt x="210" y="215"/>
                  </a:lnTo>
                  <a:lnTo>
                    <a:pt x="215" y="221"/>
                  </a:lnTo>
                  <a:lnTo>
                    <a:pt x="221" y="227"/>
                  </a:lnTo>
                  <a:lnTo>
                    <a:pt x="227" y="232"/>
                  </a:lnTo>
                  <a:lnTo>
                    <a:pt x="232" y="232"/>
                  </a:lnTo>
                  <a:lnTo>
                    <a:pt x="238" y="227"/>
                  </a:lnTo>
                  <a:lnTo>
                    <a:pt x="244" y="227"/>
                  </a:lnTo>
                  <a:lnTo>
                    <a:pt x="244" y="221"/>
                  </a:lnTo>
                  <a:lnTo>
                    <a:pt x="249" y="221"/>
                  </a:lnTo>
                  <a:lnTo>
                    <a:pt x="255" y="215"/>
                  </a:lnTo>
                  <a:lnTo>
                    <a:pt x="261" y="215"/>
                  </a:lnTo>
                  <a:lnTo>
                    <a:pt x="266" y="221"/>
                  </a:lnTo>
                  <a:lnTo>
                    <a:pt x="272" y="221"/>
                  </a:lnTo>
                  <a:lnTo>
                    <a:pt x="278" y="221"/>
                  </a:lnTo>
                  <a:lnTo>
                    <a:pt x="278" y="215"/>
                  </a:lnTo>
                  <a:lnTo>
                    <a:pt x="289" y="210"/>
                  </a:lnTo>
                  <a:lnTo>
                    <a:pt x="289" y="204"/>
                  </a:lnTo>
                  <a:lnTo>
                    <a:pt x="289" y="198"/>
                  </a:lnTo>
                  <a:lnTo>
                    <a:pt x="289" y="192"/>
                  </a:lnTo>
                  <a:lnTo>
                    <a:pt x="289" y="187"/>
                  </a:lnTo>
                  <a:lnTo>
                    <a:pt x="295" y="181"/>
                  </a:lnTo>
                  <a:lnTo>
                    <a:pt x="300" y="181"/>
                  </a:lnTo>
                  <a:lnTo>
                    <a:pt x="306" y="181"/>
                  </a:lnTo>
                  <a:lnTo>
                    <a:pt x="312" y="187"/>
                  </a:lnTo>
                  <a:lnTo>
                    <a:pt x="317" y="181"/>
                  </a:lnTo>
                  <a:lnTo>
                    <a:pt x="317" y="170"/>
                  </a:lnTo>
                  <a:lnTo>
                    <a:pt x="329" y="170"/>
                  </a:lnTo>
                  <a:lnTo>
                    <a:pt x="334" y="164"/>
                  </a:lnTo>
                  <a:lnTo>
                    <a:pt x="346" y="164"/>
                  </a:lnTo>
                  <a:lnTo>
                    <a:pt x="357" y="164"/>
                  </a:lnTo>
                  <a:lnTo>
                    <a:pt x="363" y="164"/>
                  </a:lnTo>
                  <a:lnTo>
                    <a:pt x="368" y="164"/>
                  </a:lnTo>
                  <a:lnTo>
                    <a:pt x="380" y="164"/>
                  </a:lnTo>
                  <a:lnTo>
                    <a:pt x="385" y="158"/>
                  </a:lnTo>
                  <a:lnTo>
                    <a:pt x="385" y="153"/>
                  </a:lnTo>
                  <a:lnTo>
                    <a:pt x="397" y="153"/>
                  </a:lnTo>
                  <a:lnTo>
                    <a:pt x="402" y="147"/>
                  </a:lnTo>
                  <a:lnTo>
                    <a:pt x="402" y="141"/>
                  </a:lnTo>
                  <a:lnTo>
                    <a:pt x="397" y="136"/>
                  </a:lnTo>
                  <a:lnTo>
                    <a:pt x="397" y="124"/>
                  </a:lnTo>
                  <a:lnTo>
                    <a:pt x="402" y="113"/>
                  </a:lnTo>
                  <a:lnTo>
                    <a:pt x="408" y="113"/>
                  </a:lnTo>
                  <a:lnTo>
                    <a:pt x="414" y="107"/>
                  </a:lnTo>
                  <a:lnTo>
                    <a:pt x="414" y="96"/>
                  </a:lnTo>
                  <a:lnTo>
                    <a:pt x="408" y="85"/>
                  </a:lnTo>
                  <a:lnTo>
                    <a:pt x="408" y="73"/>
                  </a:lnTo>
                  <a:lnTo>
                    <a:pt x="414" y="68"/>
                  </a:lnTo>
                  <a:lnTo>
                    <a:pt x="425" y="56"/>
                  </a:lnTo>
                  <a:lnTo>
                    <a:pt x="431" y="51"/>
                  </a:lnTo>
                  <a:lnTo>
                    <a:pt x="431" y="45"/>
                  </a:lnTo>
                  <a:lnTo>
                    <a:pt x="431" y="34"/>
                  </a:lnTo>
                  <a:lnTo>
                    <a:pt x="431" y="28"/>
                  </a:lnTo>
                  <a:lnTo>
                    <a:pt x="431" y="17"/>
                  </a:lnTo>
                  <a:lnTo>
                    <a:pt x="436" y="11"/>
                  </a:lnTo>
                  <a:lnTo>
                    <a:pt x="442" y="0"/>
                  </a:lnTo>
                  <a:lnTo>
                    <a:pt x="448" y="0"/>
                  </a:lnTo>
                  <a:lnTo>
                    <a:pt x="459" y="5"/>
                  </a:lnTo>
                  <a:lnTo>
                    <a:pt x="470" y="22"/>
                  </a:lnTo>
                  <a:lnTo>
                    <a:pt x="470" y="28"/>
                  </a:lnTo>
                  <a:lnTo>
                    <a:pt x="470" y="39"/>
                  </a:lnTo>
                  <a:lnTo>
                    <a:pt x="465" y="39"/>
                  </a:lnTo>
                  <a:lnTo>
                    <a:pt x="465" y="45"/>
                  </a:lnTo>
                  <a:lnTo>
                    <a:pt x="465" y="51"/>
                  </a:lnTo>
                  <a:lnTo>
                    <a:pt x="459" y="56"/>
                  </a:lnTo>
                  <a:lnTo>
                    <a:pt x="459" y="62"/>
                  </a:lnTo>
                  <a:lnTo>
                    <a:pt x="459" y="73"/>
                  </a:lnTo>
                  <a:lnTo>
                    <a:pt x="453" y="79"/>
                  </a:lnTo>
                  <a:lnTo>
                    <a:pt x="453" y="85"/>
                  </a:lnTo>
                  <a:lnTo>
                    <a:pt x="453" y="90"/>
                  </a:lnTo>
                  <a:lnTo>
                    <a:pt x="448" y="96"/>
                  </a:lnTo>
                  <a:lnTo>
                    <a:pt x="448" y="102"/>
                  </a:lnTo>
                  <a:lnTo>
                    <a:pt x="448" y="107"/>
                  </a:lnTo>
                  <a:lnTo>
                    <a:pt x="459" y="107"/>
                  </a:lnTo>
                  <a:lnTo>
                    <a:pt x="470" y="107"/>
                  </a:lnTo>
                  <a:lnTo>
                    <a:pt x="482" y="107"/>
                  </a:lnTo>
                  <a:lnTo>
                    <a:pt x="487" y="107"/>
                  </a:lnTo>
                  <a:lnTo>
                    <a:pt x="493" y="107"/>
                  </a:lnTo>
                  <a:lnTo>
                    <a:pt x="499" y="107"/>
                  </a:lnTo>
                  <a:lnTo>
                    <a:pt x="499" y="113"/>
                  </a:lnTo>
                  <a:lnTo>
                    <a:pt x="493" y="113"/>
                  </a:lnTo>
                  <a:lnTo>
                    <a:pt x="487" y="124"/>
                  </a:lnTo>
                  <a:lnTo>
                    <a:pt x="487" y="136"/>
                  </a:lnTo>
                  <a:lnTo>
                    <a:pt x="487" y="141"/>
                  </a:lnTo>
                  <a:lnTo>
                    <a:pt x="487" y="147"/>
                  </a:lnTo>
                  <a:lnTo>
                    <a:pt x="487" y="153"/>
                  </a:lnTo>
                  <a:lnTo>
                    <a:pt x="482" y="153"/>
                  </a:lnTo>
                  <a:lnTo>
                    <a:pt x="482" y="158"/>
                  </a:lnTo>
                  <a:lnTo>
                    <a:pt x="482" y="164"/>
                  </a:lnTo>
                  <a:lnTo>
                    <a:pt x="487" y="164"/>
                  </a:lnTo>
                  <a:lnTo>
                    <a:pt x="493" y="170"/>
                  </a:lnTo>
                  <a:lnTo>
                    <a:pt x="499" y="170"/>
                  </a:lnTo>
                  <a:lnTo>
                    <a:pt x="499" y="175"/>
                  </a:lnTo>
                  <a:lnTo>
                    <a:pt x="499" y="181"/>
                  </a:lnTo>
                  <a:lnTo>
                    <a:pt x="504" y="181"/>
                  </a:lnTo>
                  <a:lnTo>
                    <a:pt x="510" y="181"/>
                  </a:lnTo>
                  <a:lnTo>
                    <a:pt x="510" y="192"/>
                  </a:lnTo>
                  <a:lnTo>
                    <a:pt x="516" y="192"/>
                  </a:lnTo>
                  <a:lnTo>
                    <a:pt x="516" y="198"/>
                  </a:lnTo>
                  <a:lnTo>
                    <a:pt x="521" y="198"/>
                  </a:lnTo>
                  <a:lnTo>
                    <a:pt x="527" y="198"/>
                  </a:lnTo>
                  <a:lnTo>
                    <a:pt x="533" y="198"/>
                  </a:lnTo>
                  <a:lnTo>
                    <a:pt x="544" y="198"/>
                  </a:lnTo>
                  <a:lnTo>
                    <a:pt x="550" y="198"/>
                  </a:lnTo>
                  <a:lnTo>
                    <a:pt x="561" y="198"/>
                  </a:lnTo>
                  <a:lnTo>
                    <a:pt x="567" y="198"/>
                  </a:lnTo>
                  <a:lnTo>
                    <a:pt x="572" y="198"/>
                  </a:lnTo>
                  <a:lnTo>
                    <a:pt x="578" y="198"/>
                  </a:lnTo>
                  <a:lnTo>
                    <a:pt x="584" y="198"/>
                  </a:lnTo>
                  <a:lnTo>
                    <a:pt x="595" y="198"/>
                  </a:lnTo>
                  <a:lnTo>
                    <a:pt x="601" y="198"/>
                  </a:lnTo>
                  <a:lnTo>
                    <a:pt x="606" y="198"/>
                  </a:lnTo>
                  <a:lnTo>
                    <a:pt x="612" y="198"/>
                  </a:lnTo>
                  <a:lnTo>
                    <a:pt x="618" y="204"/>
                  </a:lnTo>
                  <a:lnTo>
                    <a:pt x="623" y="204"/>
                  </a:lnTo>
                  <a:lnTo>
                    <a:pt x="623" y="198"/>
                  </a:lnTo>
                  <a:lnTo>
                    <a:pt x="629" y="204"/>
                  </a:lnTo>
                  <a:lnTo>
                    <a:pt x="635" y="204"/>
                  </a:lnTo>
                  <a:lnTo>
                    <a:pt x="635" y="198"/>
                  </a:lnTo>
                  <a:lnTo>
                    <a:pt x="640" y="198"/>
                  </a:lnTo>
                  <a:lnTo>
                    <a:pt x="640" y="204"/>
                  </a:lnTo>
                  <a:lnTo>
                    <a:pt x="646" y="204"/>
                  </a:lnTo>
                  <a:lnTo>
                    <a:pt x="657" y="210"/>
                  </a:lnTo>
                  <a:lnTo>
                    <a:pt x="663" y="210"/>
                  </a:lnTo>
                  <a:lnTo>
                    <a:pt x="669" y="204"/>
                  </a:lnTo>
                  <a:lnTo>
                    <a:pt x="674" y="210"/>
                  </a:lnTo>
                  <a:lnTo>
                    <a:pt x="674" y="221"/>
                  </a:lnTo>
                  <a:lnTo>
                    <a:pt x="674" y="244"/>
                  </a:lnTo>
                  <a:lnTo>
                    <a:pt x="674" y="249"/>
                  </a:lnTo>
                  <a:lnTo>
                    <a:pt x="674" y="255"/>
                  </a:lnTo>
                  <a:lnTo>
                    <a:pt x="674" y="261"/>
                  </a:lnTo>
                  <a:lnTo>
                    <a:pt x="669" y="261"/>
                  </a:lnTo>
                  <a:lnTo>
                    <a:pt x="669" y="266"/>
                  </a:lnTo>
                  <a:lnTo>
                    <a:pt x="669" y="272"/>
                  </a:lnTo>
                  <a:lnTo>
                    <a:pt x="663" y="272"/>
                  </a:lnTo>
                  <a:lnTo>
                    <a:pt x="663" y="278"/>
                  </a:lnTo>
                  <a:lnTo>
                    <a:pt x="652" y="278"/>
                  </a:lnTo>
                  <a:lnTo>
                    <a:pt x="646" y="278"/>
                  </a:lnTo>
                  <a:lnTo>
                    <a:pt x="640" y="283"/>
                  </a:lnTo>
                  <a:lnTo>
                    <a:pt x="640" y="289"/>
                  </a:lnTo>
                  <a:lnTo>
                    <a:pt x="640" y="295"/>
                  </a:lnTo>
                  <a:lnTo>
                    <a:pt x="640" y="300"/>
                  </a:lnTo>
                  <a:lnTo>
                    <a:pt x="635" y="306"/>
                  </a:lnTo>
                  <a:lnTo>
                    <a:pt x="640" y="312"/>
                  </a:lnTo>
                  <a:lnTo>
                    <a:pt x="640" y="317"/>
                  </a:lnTo>
                  <a:lnTo>
                    <a:pt x="646" y="317"/>
                  </a:lnTo>
                  <a:lnTo>
                    <a:pt x="652" y="323"/>
                  </a:lnTo>
                  <a:lnTo>
                    <a:pt x="657" y="323"/>
                  </a:lnTo>
                  <a:lnTo>
                    <a:pt x="663" y="323"/>
                  </a:lnTo>
                  <a:lnTo>
                    <a:pt x="669" y="323"/>
                  </a:lnTo>
                  <a:lnTo>
                    <a:pt x="674" y="323"/>
                  </a:lnTo>
                  <a:lnTo>
                    <a:pt x="680" y="323"/>
                  </a:lnTo>
                  <a:lnTo>
                    <a:pt x="686" y="323"/>
                  </a:lnTo>
                  <a:lnTo>
                    <a:pt x="691" y="323"/>
                  </a:lnTo>
                  <a:lnTo>
                    <a:pt x="697" y="317"/>
                  </a:lnTo>
                  <a:lnTo>
                    <a:pt x="708" y="323"/>
                  </a:lnTo>
                  <a:lnTo>
                    <a:pt x="720" y="323"/>
                  </a:lnTo>
                  <a:lnTo>
                    <a:pt x="726" y="323"/>
                  </a:lnTo>
                  <a:lnTo>
                    <a:pt x="731" y="323"/>
                  </a:lnTo>
                  <a:lnTo>
                    <a:pt x="737" y="323"/>
                  </a:lnTo>
                  <a:lnTo>
                    <a:pt x="743" y="323"/>
                  </a:lnTo>
                  <a:lnTo>
                    <a:pt x="748" y="329"/>
                  </a:lnTo>
                  <a:lnTo>
                    <a:pt x="754" y="329"/>
                  </a:lnTo>
                  <a:lnTo>
                    <a:pt x="760" y="329"/>
                  </a:lnTo>
                  <a:lnTo>
                    <a:pt x="760" y="334"/>
                  </a:lnTo>
                  <a:lnTo>
                    <a:pt x="765" y="334"/>
                  </a:lnTo>
                  <a:lnTo>
                    <a:pt x="765" y="340"/>
                  </a:lnTo>
                  <a:lnTo>
                    <a:pt x="765" y="346"/>
                  </a:lnTo>
                  <a:lnTo>
                    <a:pt x="777" y="351"/>
                  </a:lnTo>
                  <a:lnTo>
                    <a:pt x="777" y="363"/>
                  </a:lnTo>
                  <a:lnTo>
                    <a:pt x="777" y="368"/>
                  </a:lnTo>
                  <a:lnTo>
                    <a:pt x="777" y="374"/>
                  </a:lnTo>
                  <a:lnTo>
                    <a:pt x="777" y="380"/>
                  </a:lnTo>
                  <a:lnTo>
                    <a:pt x="777" y="385"/>
                  </a:lnTo>
                  <a:lnTo>
                    <a:pt x="777" y="391"/>
                  </a:lnTo>
                  <a:lnTo>
                    <a:pt x="777" y="397"/>
                  </a:lnTo>
                  <a:lnTo>
                    <a:pt x="777" y="402"/>
                  </a:lnTo>
                  <a:lnTo>
                    <a:pt x="777" y="414"/>
                  </a:lnTo>
                  <a:lnTo>
                    <a:pt x="777" y="419"/>
                  </a:lnTo>
                  <a:lnTo>
                    <a:pt x="777" y="431"/>
                  </a:lnTo>
                  <a:lnTo>
                    <a:pt x="777" y="436"/>
                  </a:lnTo>
                  <a:lnTo>
                    <a:pt x="782" y="442"/>
                  </a:lnTo>
                  <a:lnTo>
                    <a:pt x="788" y="442"/>
                  </a:lnTo>
                  <a:lnTo>
                    <a:pt x="788" y="44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8" name="Freeform 27"/>
            <p:cNvSpPr>
              <a:spLocks/>
            </p:cNvSpPr>
            <p:nvPr/>
          </p:nvSpPr>
          <p:spPr bwMode="gray">
            <a:xfrm>
              <a:off x="3420782" y="2709378"/>
              <a:ext cx="1359683" cy="1451387"/>
            </a:xfrm>
            <a:custGeom>
              <a:avLst/>
              <a:gdLst>
                <a:gd name="T0" fmla="*/ 2147483647 w 969"/>
                <a:gd name="T1" fmla="*/ 2147483647 h 1088"/>
                <a:gd name="T2" fmla="*/ 2147483647 w 969"/>
                <a:gd name="T3" fmla="*/ 2147483647 h 1088"/>
                <a:gd name="T4" fmla="*/ 2147483647 w 969"/>
                <a:gd name="T5" fmla="*/ 2147483647 h 1088"/>
                <a:gd name="T6" fmla="*/ 2147483647 w 969"/>
                <a:gd name="T7" fmla="*/ 2147483647 h 1088"/>
                <a:gd name="T8" fmla="*/ 2147483647 w 969"/>
                <a:gd name="T9" fmla="*/ 2147483647 h 1088"/>
                <a:gd name="T10" fmla="*/ 2147483647 w 969"/>
                <a:gd name="T11" fmla="*/ 2147483647 h 1088"/>
                <a:gd name="T12" fmla="*/ 2147483647 w 969"/>
                <a:gd name="T13" fmla="*/ 2147483647 h 1088"/>
                <a:gd name="T14" fmla="*/ 0 w 969"/>
                <a:gd name="T15" fmla="*/ 2147483647 h 1088"/>
                <a:gd name="T16" fmla="*/ 2147483647 w 969"/>
                <a:gd name="T17" fmla="*/ 2147483647 h 1088"/>
                <a:gd name="T18" fmla="*/ 2147483647 w 969"/>
                <a:gd name="T19" fmla="*/ 2147483647 h 1088"/>
                <a:gd name="T20" fmla="*/ 2147483647 w 969"/>
                <a:gd name="T21" fmla="*/ 2147483647 h 1088"/>
                <a:gd name="T22" fmla="*/ 2147483647 w 969"/>
                <a:gd name="T23" fmla="*/ 2147483647 h 1088"/>
                <a:gd name="T24" fmla="*/ 2147483647 w 969"/>
                <a:gd name="T25" fmla="*/ 2147483647 h 1088"/>
                <a:gd name="T26" fmla="*/ 2147483647 w 969"/>
                <a:gd name="T27" fmla="*/ 2147483647 h 1088"/>
                <a:gd name="T28" fmla="*/ 2147483647 w 969"/>
                <a:gd name="T29" fmla="*/ 2147483647 h 1088"/>
                <a:gd name="T30" fmla="*/ 2147483647 w 969"/>
                <a:gd name="T31" fmla="*/ 2147483647 h 1088"/>
                <a:gd name="T32" fmla="*/ 2147483647 w 969"/>
                <a:gd name="T33" fmla="*/ 2147483647 h 1088"/>
                <a:gd name="T34" fmla="*/ 2147483647 w 969"/>
                <a:gd name="T35" fmla="*/ 2147483647 h 1088"/>
                <a:gd name="T36" fmla="*/ 2147483647 w 969"/>
                <a:gd name="T37" fmla="*/ 2147483647 h 1088"/>
                <a:gd name="T38" fmla="*/ 2147483647 w 969"/>
                <a:gd name="T39" fmla="*/ 2147483647 h 1088"/>
                <a:gd name="T40" fmla="*/ 2147483647 w 969"/>
                <a:gd name="T41" fmla="*/ 2147483647 h 1088"/>
                <a:gd name="T42" fmla="*/ 2147483647 w 969"/>
                <a:gd name="T43" fmla="*/ 2147483647 h 1088"/>
                <a:gd name="T44" fmla="*/ 2147483647 w 969"/>
                <a:gd name="T45" fmla="*/ 2147483647 h 1088"/>
                <a:gd name="T46" fmla="*/ 2147483647 w 969"/>
                <a:gd name="T47" fmla="*/ 2147483647 h 1088"/>
                <a:gd name="T48" fmla="*/ 2147483647 w 969"/>
                <a:gd name="T49" fmla="*/ 2147483647 h 1088"/>
                <a:gd name="T50" fmla="*/ 2147483647 w 969"/>
                <a:gd name="T51" fmla="*/ 2147483647 h 1088"/>
                <a:gd name="T52" fmla="*/ 2147483647 w 969"/>
                <a:gd name="T53" fmla="*/ 2147483647 h 1088"/>
                <a:gd name="T54" fmla="*/ 2147483647 w 969"/>
                <a:gd name="T55" fmla="*/ 2147483647 h 1088"/>
                <a:gd name="T56" fmla="*/ 2147483647 w 969"/>
                <a:gd name="T57" fmla="*/ 2147483647 h 1088"/>
                <a:gd name="T58" fmla="*/ 2147483647 w 969"/>
                <a:gd name="T59" fmla="*/ 2147483647 h 1088"/>
                <a:gd name="T60" fmla="*/ 2147483647 w 969"/>
                <a:gd name="T61" fmla="*/ 2147483647 h 1088"/>
                <a:gd name="T62" fmla="*/ 2147483647 w 969"/>
                <a:gd name="T63" fmla="*/ 2147483647 h 1088"/>
                <a:gd name="T64" fmla="*/ 2147483647 w 969"/>
                <a:gd name="T65" fmla="*/ 2147483647 h 1088"/>
                <a:gd name="T66" fmla="*/ 2147483647 w 969"/>
                <a:gd name="T67" fmla="*/ 2147483647 h 1088"/>
                <a:gd name="T68" fmla="*/ 2147483647 w 969"/>
                <a:gd name="T69" fmla="*/ 2147483647 h 1088"/>
                <a:gd name="T70" fmla="*/ 2147483647 w 969"/>
                <a:gd name="T71" fmla="*/ 2147483647 h 1088"/>
                <a:gd name="T72" fmla="*/ 2147483647 w 969"/>
                <a:gd name="T73" fmla="*/ 2147483647 h 1088"/>
                <a:gd name="T74" fmla="*/ 2147483647 w 969"/>
                <a:gd name="T75" fmla="*/ 2147483647 h 1088"/>
                <a:gd name="T76" fmla="*/ 2147483647 w 969"/>
                <a:gd name="T77" fmla="*/ 2147483647 h 1088"/>
                <a:gd name="T78" fmla="*/ 2147483647 w 969"/>
                <a:gd name="T79" fmla="*/ 2147483647 h 1088"/>
                <a:gd name="T80" fmla="*/ 2147483647 w 969"/>
                <a:gd name="T81" fmla="*/ 2147483647 h 1088"/>
                <a:gd name="T82" fmla="*/ 2147483647 w 969"/>
                <a:gd name="T83" fmla="*/ 2147483647 h 1088"/>
                <a:gd name="T84" fmla="*/ 2147483647 w 969"/>
                <a:gd name="T85" fmla="*/ 2147483647 h 1088"/>
                <a:gd name="T86" fmla="*/ 2147483647 w 969"/>
                <a:gd name="T87" fmla="*/ 2147483647 h 1088"/>
                <a:gd name="T88" fmla="*/ 2147483647 w 969"/>
                <a:gd name="T89" fmla="*/ 2147483647 h 1088"/>
                <a:gd name="T90" fmla="*/ 2147483647 w 969"/>
                <a:gd name="T91" fmla="*/ 2147483647 h 1088"/>
                <a:gd name="T92" fmla="*/ 2147483647 w 969"/>
                <a:gd name="T93" fmla="*/ 2147483647 h 1088"/>
                <a:gd name="T94" fmla="*/ 2147483647 w 969"/>
                <a:gd name="T95" fmla="*/ 2147483647 h 1088"/>
                <a:gd name="T96" fmla="*/ 2147483647 w 969"/>
                <a:gd name="T97" fmla="*/ 2147483647 h 1088"/>
                <a:gd name="T98" fmla="*/ 2147483647 w 969"/>
                <a:gd name="T99" fmla="*/ 2147483647 h 1088"/>
                <a:gd name="T100" fmla="*/ 2147483647 w 969"/>
                <a:gd name="T101" fmla="*/ 2147483647 h 1088"/>
                <a:gd name="T102" fmla="*/ 2147483647 w 969"/>
                <a:gd name="T103" fmla="*/ 2147483647 h 1088"/>
                <a:gd name="T104" fmla="*/ 2147483647 w 969"/>
                <a:gd name="T105" fmla="*/ 2147483647 h 1088"/>
                <a:gd name="T106" fmla="*/ 2147483647 w 969"/>
                <a:gd name="T107" fmla="*/ 2147483647 h 1088"/>
                <a:gd name="T108" fmla="*/ 2147483647 w 969"/>
                <a:gd name="T109" fmla="*/ 2147483647 h 1088"/>
                <a:gd name="T110" fmla="*/ 2147483647 w 969"/>
                <a:gd name="T111" fmla="*/ 2147483647 h 1088"/>
                <a:gd name="T112" fmla="*/ 2147483647 w 969"/>
                <a:gd name="T113" fmla="*/ 2147483647 h 1088"/>
                <a:gd name="T114" fmla="*/ 2147483647 w 969"/>
                <a:gd name="T115" fmla="*/ 2147483647 h 1088"/>
                <a:gd name="T116" fmla="*/ 2147483647 w 969"/>
                <a:gd name="T117" fmla="*/ 2147483647 h 1088"/>
                <a:gd name="T118" fmla="*/ 2147483647 w 969"/>
                <a:gd name="T119" fmla="*/ 2147483647 h 108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69"/>
                <a:gd name="T181" fmla="*/ 0 h 1088"/>
                <a:gd name="T182" fmla="*/ 969 w 969"/>
                <a:gd name="T183" fmla="*/ 1088 h 108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69" h="1088">
                  <a:moveTo>
                    <a:pt x="181" y="1083"/>
                  </a:moveTo>
                  <a:lnTo>
                    <a:pt x="181" y="1077"/>
                  </a:lnTo>
                  <a:lnTo>
                    <a:pt x="187" y="1066"/>
                  </a:lnTo>
                  <a:lnTo>
                    <a:pt x="187" y="1054"/>
                  </a:lnTo>
                  <a:lnTo>
                    <a:pt x="193" y="1037"/>
                  </a:lnTo>
                  <a:lnTo>
                    <a:pt x="193" y="1032"/>
                  </a:lnTo>
                  <a:lnTo>
                    <a:pt x="193" y="1009"/>
                  </a:lnTo>
                  <a:lnTo>
                    <a:pt x="193" y="1003"/>
                  </a:lnTo>
                  <a:lnTo>
                    <a:pt x="193" y="998"/>
                  </a:lnTo>
                  <a:lnTo>
                    <a:pt x="187" y="992"/>
                  </a:lnTo>
                  <a:lnTo>
                    <a:pt x="187" y="986"/>
                  </a:lnTo>
                  <a:lnTo>
                    <a:pt x="187" y="964"/>
                  </a:lnTo>
                  <a:lnTo>
                    <a:pt x="187" y="952"/>
                  </a:lnTo>
                  <a:lnTo>
                    <a:pt x="193" y="952"/>
                  </a:lnTo>
                  <a:lnTo>
                    <a:pt x="193" y="947"/>
                  </a:lnTo>
                  <a:lnTo>
                    <a:pt x="198" y="941"/>
                  </a:lnTo>
                  <a:lnTo>
                    <a:pt x="198" y="935"/>
                  </a:lnTo>
                  <a:lnTo>
                    <a:pt x="204" y="935"/>
                  </a:lnTo>
                  <a:lnTo>
                    <a:pt x="204" y="930"/>
                  </a:lnTo>
                  <a:lnTo>
                    <a:pt x="210" y="924"/>
                  </a:lnTo>
                  <a:lnTo>
                    <a:pt x="210" y="918"/>
                  </a:lnTo>
                  <a:lnTo>
                    <a:pt x="210" y="913"/>
                  </a:lnTo>
                  <a:lnTo>
                    <a:pt x="210" y="907"/>
                  </a:lnTo>
                  <a:lnTo>
                    <a:pt x="215" y="907"/>
                  </a:lnTo>
                  <a:lnTo>
                    <a:pt x="215" y="896"/>
                  </a:lnTo>
                  <a:lnTo>
                    <a:pt x="215" y="890"/>
                  </a:lnTo>
                  <a:lnTo>
                    <a:pt x="221" y="884"/>
                  </a:lnTo>
                  <a:lnTo>
                    <a:pt x="227" y="884"/>
                  </a:lnTo>
                  <a:lnTo>
                    <a:pt x="227" y="879"/>
                  </a:lnTo>
                  <a:lnTo>
                    <a:pt x="232" y="879"/>
                  </a:lnTo>
                  <a:lnTo>
                    <a:pt x="238" y="873"/>
                  </a:lnTo>
                  <a:lnTo>
                    <a:pt x="244" y="873"/>
                  </a:lnTo>
                  <a:lnTo>
                    <a:pt x="244" y="867"/>
                  </a:lnTo>
                  <a:lnTo>
                    <a:pt x="249" y="867"/>
                  </a:lnTo>
                  <a:lnTo>
                    <a:pt x="255" y="867"/>
                  </a:lnTo>
                  <a:lnTo>
                    <a:pt x="255" y="862"/>
                  </a:lnTo>
                  <a:lnTo>
                    <a:pt x="261" y="862"/>
                  </a:lnTo>
                  <a:lnTo>
                    <a:pt x="261" y="856"/>
                  </a:lnTo>
                  <a:lnTo>
                    <a:pt x="266" y="850"/>
                  </a:lnTo>
                  <a:lnTo>
                    <a:pt x="266" y="828"/>
                  </a:lnTo>
                  <a:lnTo>
                    <a:pt x="272" y="799"/>
                  </a:lnTo>
                  <a:lnTo>
                    <a:pt x="272" y="788"/>
                  </a:lnTo>
                  <a:lnTo>
                    <a:pt x="272" y="777"/>
                  </a:lnTo>
                  <a:lnTo>
                    <a:pt x="272" y="765"/>
                  </a:lnTo>
                  <a:lnTo>
                    <a:pt x="272" y="760"/>
                  </a:lnTo>
                  <a:lnTo>
                    <a:pt x="272" y="754"/>
                  </a:lnTo>
                  <a:lnTo>
                    <a:pt x="272" y="748"/>
                  </a:lnTo>
                  <a:lnTo>
                    <a:pt x="272" y="743"/>
                  </a:lnTo>
                  <a:lnTo>
                    <a:pt x="272" y="731"/>
                  </a:lnTo>
                  <a:lnTo>
                    <a:pt x="272" y="726"/>
                  </a:lnTo>
                  <a:lnTo>
                    <a:pt x="266" y="726"/>
                  </a:lnTo>
                  <a:lnTo>
                    <a:pt x="261" y="714"/>
                  </a:lnTo>
                  <a:lnTo>
                    <a:pt x="255" y="703"/>
                  </a:lnTo>
                  <a:lnTo>
                    <a:pt x="249" y="703"/>
                  </a:lnTo>
                  <a:lnTo>
                    <a:pt x="244" y="697"/>
                  </a:lnTo>
                  <a:lnTo>
                    <a:pt x="244" y="692"/>
                  </a:lnTo>
                  <a:lnTo>
                    <a:pt x="238" y="686"/>
                  </a:lnTo>
                  <a:lnTo>
                    <a:pt x="238" y="680"/>
                  </a:lnTo>
                  <a:lnTo>
                    <a:pt x="227" y="675"/>
                  </a:lnTo>
                  <a:lnTo>
                    <a:pt x="215" y="669"/>
                  </a:lnTo>
                  <a:lnTo>
                    <a:pt x="215" y="663"/>
                  </a:lnTo>
                  <a:lnTo>
                    <a:pt x="210" y="658"/>
                  </a:lnTo>
                  <a:lnTo>
                    <a:pt x="204" y="652"/>
                  </a:lnTo>
                  <a:lnTo>
                    <a:pt x="198" y="646"/>
                  </a:lnTo>
                  <a:lnTo>
                    <a:pt x="193" y="646"/>
                  </a:lnTo>
                  <a:lnTo>
                    <a:pt x="187" y="641"/>
                  </a:lnTo>
                  <a:lnTo>
                    <a:pt x="187" y="635"/>
                  </a:lnTo>
                  <a:lnTo>
                    <a:pt x="181" y="635"/>
                  </a:lnTo>
                  <a:lnTo>
                    <a:pt x="181" y="629"/>
                  </a:lnTo>
                  <a:lnTo>
                    <a:pt x="176" y="629"/>
                  </a:lnTo>
                  <a:lnTo>
                    <a:pt x="170" y="629"/>
                  </a:lnTo>
                  <a:lnTo>
                    <a:pt x="170" y="623"/>
                  </a:lnTo>
                  <a:lnTo>
                    <a:pt x="170" y="618"/>
                  </a:lnTo>
                  <a:lnTo>
                    <a:pt x="164" y="618"/>
                  </a:lnTo>
                  <a:lnTo>
                    <a:pt x="159" y="618"/>
                  </a:lnTo>
                  <a:lnTo>
                    <a:pt x="153" y="618"/>
                  </a:lnTo>
                  <a:lnTo>
                    <a:pt x="147" y="612"/>
                  </a:lnTo>
                  <a:lnTo>
                    <a:pt x="142" y="612"/>
                  </a:lnTo>
                  <a:lnTo>
                    <a:pt x="136" y="606"/>
                  </a:lnTo>
                  <a:lnTo>
                    <a:pt x="119" y="606"/>
                  </a:lnTo>
                  <a:lnTo>
                    <a:pt x="113" y="612"/>
                  </a:lnTo>
                  <a:lnTo>
                    <a:pt x="91" y="618"/>
                  </a:lnTo>
                  <a:lnTo>
                    <a:pt x="85" y="618"/>
                  </a:lnTo>
                  <a:lnTo>
                    <a:pt x="62" y="629"/>
                  </a:lnTo>
                  <a:lnTo>
                    <a:pt x="57" y="629"/>
                  </a:lnTo>
                  <a:lnTo>
                    <a:pt x="51" y="629"/>
                  </a:lnTo>
                  <a:lnTo>
                    <a:pt x="45" y="629"/>
                  </a:lnTo>
                  <a:lnTo>
                    <a:pt x="40" y="629"/>
                  </a:lnTo>
                  <a:lnTo>
                    <a:pt x="34" y="635"/>
                  </a:lnTo>
                  <a:lnTo>
                    <a:pt x="28" y="641"/>
                  </a:lnTo>
                  <a:lnTo>
                    <a:pt x="23" y="646"/>
                  </a:lnTo>
                  <a:lnTo>
                    <a:pt x="17" y="646"/>
                  </a:lnTo>
                  <a:lnTo>
                    <a:pt x="17" y="652"/>
                  </a:lnTo>
                  <a:lnTo>
                    <a:pt x="6" y="652"/>
                  </a:lnTo>
                  <a:lnTo>
                    <a:pt x="0" y="652"/>
                  </a:lnTo>
                  <a:lnTo>
                    <a:pt x="0" y="646"/>
                  </a:lnTo>
                  <a:lnTo>
                    <a:pt x="0" y="641"/>
                  </a:lnTo>
                  <a:lnTo>
                    <a:pt x="0" y="635"/>
                  </a:lnTo>
                  <a:lnTo>
                    <a:pt x="6" y="635"/>
                  </a:lnTo>
                  <a:lnTo>
                    <a:pt x="6" y="629"/>
                  </a:lnTo>
                  <a:lnTo>
                    <a:pt x="6" y="623"/>
                  </a:lnTo>
                  <a:lnTo>
                    <a:pt x="6" y="618"/>
                  </a:lnTo>
                  <a:lnTo>
                    <a:pt x="11" y="618"/>
                  </a:lnTo>
                  <a:lnTo>
                    <a:pt x="11" y="612"/>
                  </a:lnTo>
                  <a:lnTo>
                    <a:pt x="11" y="606"/>
                  </a:lnTo>
                  <a:lnTo>
                    <a:pt x="17" y="606"/>
                  </a:lnTo>
                  <a:lnTo>
                    <a:pt x="17" y="601"/>
                  </a:lnTo>
                  <a:lnTo>
                    <a:pt x="11" y="601"/>
                  </a:lnTo>
                  <a:lnTo>
                    <a:pt x="11" y="595"/>
                  </a:lnTo>
                  <a:lnTo>
                    <a:pt x="17" y="601"/>
                  </a:lnTo>
                  <a:lnTo>
                    <a:pt x="23" y="601"/>
                  </a:lnTo>
                  <a:lnTo>
                    <a:pt x="28" y="601"/>
                  </a:lnTo>
                  <a:lnTo>
                    <a:pt x="40" y="589"/>
                  </a:lnTo>
                  <a:lnTo>
                    <a:pt x="45" y="589"/>
                  </a:lnTo>
                  <a:lnTo>
                    <a:pt x="45" y="584"/>
                  </a:lnTo>
                  <a:lnTo>
                    <a:pt x="51" y="584"/>
                  </a:lnTo>
                  <a:lnTo>
                    <a:pt x="51" y="578"/>
                  </a:lnTo>
                  <a:lnTo>
                    <a:pt x="57" y="578"/>
                  </a:lnTo>
                  <a:lnTo>
                    <a:pt x="57" y="572"/>
                  </a:lnTo>
                  <a:lnTo>
                    <a:pt x="62" y="572"/>
                  </a:lnTo>
                  <a:lnTo>
                    <a:pt x="74" y="561"/>
                  </a:lnTo>
                  <a:lnTo>
                    <a:pt x="79" y="561"/>
                  </a:lnTo>
                  <a:lnTo>
                    <a:pt x="85" y="555"/>
                  </a:lnTo>
                  <a:lnTo>
                    <a:pt x="85" y="550"/>
                  </a:lnTo>
                  <a:lnTo>
                    <a:pt x="91" y="550"/>
                  </a:lnTo>
                  <a:lnTo>
                    <a:pt x="91" y="544"/>
                  </a:lnTo>
                  <a:lnTo>
                    <a:pt x="91" y="538"/>
                  </a:lnTo>
                  <a:lnTo>
                    <a:pt x="91" y="533"/>
                  </a:lnTo>
                  <a:lnTo>
                    <a:pt x="91" y="527"/>
                  </a:lnTo>
                  <a:lnTo>
                    <a:pt x="91" y="521"/>
                  </a:lnTo>
                  <a:lnTo>
                    <a:pt x="85" y="521"/>
                  </a:lnTo>
                  <a:lnTo>
                    <a:pt x="85" y="516"/>
                  </a:lnTo>
                  <a:lnTo>
                    <a:pt x="85" y="504"/>
                  </a:lnTo>
                  <a:lnTo>
                    <a:pt x="79" y="504"/>
                  </a:lnTo>
                  <a:lnTo>
                    <a:pt x="74" y="499"/>
                  </a:lnTo>
                  <a:lnTo>
                    <a:pt x="74" y="493"/>
                  </a:lnTo>
                  <a:lnTo>
                    <a:pt x="74" y="487"/>
                  </a:lnTo>
                  <a:lnTo>
                    <a:pt x="74" y="482"/>
                  </a:lnTo>
                  <a:lnTo>
                    <a:pt x="68" y="476"/>
                  </a:lnTo>
                  <a:lnTo>
                    <a:pt x="68" y="465"/>
                  </a:lnTo>
                  <a:lnTo>
                    <a:pt x="74" y="459"/>
                  </a:lnTo>
                  <a:lnTo>
                    <a:pt x="74" y="453"/>
                  </a:lnTo>
                  <a:lnTo>
                    <a:pt x="85" y="453"/>
                  </a:lnTo>
                  <a:lnTo>
                    <a:pt x="85" y="448"/>
                  </a:lnTo>
                  <a:lnTo>
                    <a:pt x="91" y="448"/>
                  </a:lnTo>
                  <a:lnTo>
                    <a:pt x="96" y="453"/>
                  </a:lnTo>
                  <a:lnTo>
                    <a:pt x="102" y="453"/>
                  </a:lnTo>
                  <a:lnTo>
                    <a:pt x="113" y="453"/>
                  </a:lnTo>
                  <a:lnTo>
                    <a:pt x="113" y="459"/>
                  </a:lnTo>
                  <a:lnTo>
                    <a:pt x="119" y="459"/>
                  </a:lnTo>
                  <a:lnTo>
                    <a:pt x="125" y="459"/>
                  </a:lnTo>
                  <a:lnTo>
                    <a:pt x="130" y="465"/>
                  </a:lnTo>
                  <a:lnTo>
                    <a:pt x="136" y="465"/>
                  </a:lnTo>
                  <a:lnTo>
                    <a:pt x="142" y="465"/>
                  </a:lnTo>
                  <a:lnTo>
                    <a:pt x="147" y="465"/>
                  </a:lnTo>
                  <a:lnTo>
                    <a:pt x="159" y="465"/>
                  </a:lnTo>
                  <a:lnTo>
                    <a:pt x="159" y="459"/>
                  </a:lnTo>
                  <a:lnTo>
                    <a:pt x="159" y="453"/>
                  </a:lnTo>
                  <a:lnTo>
                    <a:pt x="164" y="453"/>
                  </a:lnTo>
                  <a:lnTo>
                    <a:pt x="170" y="448"/>
                  </a:lnTo>
                  <a:lnTo>
                    <a:pt x="170" y="442"/>
                  </a:lnTo>
                  <a:lnTo>
                    <a:pt x="176" y="436"/>
                  </a:lnTo>
                  <a:lnTo>
                    <a:pt x="187" y="436"/>
                  </a:lnTo>
                  <a:lnTo>
                    <a:pt x="198" y="436"/>
                  </a:lnTo>
                  <a:lnTo>
                    <a:pt x="204" y="436"/>
                  </a:lnTo>
                  <a:lnTo>
                    <a:pt x="210" y="436"/>
                  </a:lnTo>
                  <a:lnTo>
                    <a:pt x="215" y="431"/>
                  </a:lnTo>
                  <a:lnTo>
                    <a:pt x="227" y="431"/>
                  </a:lnTo>
                  <a:lnTo>
                    <a:pt x="232" y="425"/>
                  </a:lnTo>
                  <a:lnTo>
                    <a:pt x="238" y="425"/>
                  </a:lnTo>
                  <a:lnTo>
                    <a:pt x="244" y="419"/>
                  </a:lnTo>
                  <a:lnTo>
                    <a:pt x="249" y="419"/>
                  </a:lnTo>
                  <a:lnTo>
                    <a:pt x="255" y="419"/>
                  </a:lnTo>
                  <a:lnTo>
                    <a:pt x="261" y="414"/>
                  </a:lnTo>
                  <a:lnTo>
                    <a:pt x="261" y="408"/>
                  </a:lnTo>
                  <a:lnTo>
                    <a:pt x="266" y="408"/>
                  </a:lnTo>
                  <a:lnTo>
                    <a:pt x="272" y="408"/>
                  </a:lnTo>
                  <a:lnTo>
                    <a:pt x="278" y="402"/>
                  </a:lnTo>
                  <a:lnTo>
                    <a:pt x="284" y="397"/>
                  </a:lnTo>
                  <a:lnTo>
                    <a:pt x="289" y="397"/>
                  </a:lnTo>
                  <a:lnTo>
                    <a:pt x="289" y="391"/>
                  </a:lnTo>
                  <a:lnTo>
                    <a:pt x="295" y="391"/>
                  </a:lnTo>
                  <a:lnTo>
                    <a:pt x="301" y="391"/>
                  </a:lnTo>
                  <a:lnTo>
                    <a:pt x="301" y="385"/>
                  </a:lnTo>
                  <a:lnTo>
                    <a:pt x="306" y="380"/>
                  </a:lnTo>
                  <a:lnTo>
                    <a:pt x="312" y="380"/>
                  </a:lnTo>
                  <a:lnTo>
                    <a:pt x="318" y="374"/>
                  </a:lnTo>
                  <a:lnTo>
                    <a:pt x="323" y="374"/>
                  </a:lnTo>
                  <a:lnTo>
                    <a:pt x="323" y="368"/>
                  </a:lnTo>
                  <a:lnTo>
                    <a:pt x="329" y="368"/>
                  </a:lnTo>
                  <a:lnTo>
                    <a:pt x="329" y="363"/>
                  </a:lnTo>
                  <a:lnTo>
                    <a:pt x="335" y="363"/>
                  </a:lnTo>
                  <a:lnTo>
                    <a:pt x="340" y="363"/>
                  </a:lnTo>
                  <a:lnTo>
                    <a:pt x="340" y="357"/>
                  </a:lnTo>
                  <a:lnTo>
                    <a:pt x="346" y="357"/>
                  </a:lnTo>
                  <a:lnTo>
                    <a:pt x="346" y="351"/>
                  </a:lnTo>
                  <a:lnTo>
                    <a:pt x="352" y="351"/>
                  </a:lnTo>
                  <a:lnTo>
                    <a:pt x="352" y="346"/>
                  </a:lnTo>
                  <a:lnTo>
                    <a:pt x="357" y="346"/>
                  </a:lnTo>
                  <a:lnTo>
                    <a:pt x="357" y="340"/>
                  </a:lnTo>
                  <a:lnTo>
                    <a:pt x="363" y="340"/>
                  </a:lnTo>
                  <a:lnTo>
                    <a:pt x="369" y="340"/>
                  </a:lnTo>
                  <a:lnTo>
                    <a:pt x="369" y="334"/>
                  </a:lnTo>
                  <a:lnTo>
                    <a:pt x="369" y="329"/>
                  </a:lnTo>
                  <a:lnTo>
                    <a:pt x="374" y="329"/>
                  </a:lnTo>
                  <a:lnTo>
                    <a:pt x="380" y="329"/>
                  </a:lnTo>
                  <a:lnTo>
                    <a:pt x="380" y="323"/>
                  </a:lnTo>
                  <a:lnTo>
                    <a:pt x="386" y="312"/>
                  </a:lnTo>
                  <a:lnTo>
                    <a:pt x="391" y="312"/>
                  </a:lnTo>
                  <a:lnTo>
                    <a:pt x="397" y="312"/>
                  </a:lnTo>
                  <a:lnTo>
                    <a:pt x="397" y="306"/>
                  </a:lnTo>
                  <a:lnTo>
                    <a:pt x="397" y="300"/>
                  </a:lnTo>
                  <a:lnTo>
                    <a:pt x="408" y="295"/>
                  </a:lnTo>
                  <a:lnTo>
                    <a:pt x="414" y="295"/>
                  </a:lnTo>
                  <a:lnTo>
                    <a:pt x="420" y="283"/>
                  </a:lnTo>
                  <a:lnTo>
                    <a:pt x="425" y="283"/>
                  </a:lnTo>
                  <a:lnTo>
                    <a:pt x="425" y="278"/>
                  </a:lnTo>
                  <a:lnTo>
                    <a:pt x="431" y="278"/>
                  </a:lnTo>
                  <a:lnTo>
                    <a:pt x="431" y="272"/>
                  </a:lnTo>
                  <a:lnTo>
                    <a:pt x="442" y="266"/>
                  </a:lnTo>
                  <a:lnTo>
                    <a:pt x="448" y="261"/>
                  </a:lnTo>
                  <a:lnTo>
                    <a:pt x="454" y="261"/>
                  </a:lnTo>
                  <a:lnTo>
                    <a:pt x="454" y="255"/>
                  </a:lnTo>
                  <a:lnTo>
                    <a:pt x="459" y="255"/>
                  </a:lnTo>
                  <a:lnTo>
                    <a:pt x="465" y="255"/>
                  </a:lnTo>
                  <a:lnTo>
                    <a:pt x="471" y="249"/>
                  </a:lnTo>
                  <a:lnTo>
                    <a:pt x="476" y="249"/>
                  </a:lnTo>
                  <a:lnTo>
                    <a:pt x="482" y="244"/>
                  </a:lnTo>
                  <a:lnTo>
                    <a:pt x="488" y="244"/>
                  </a:lnTo>
                  <a:lnTo>
                    <a:pt x="505" y="244"/>
                  </a:lnTo>
                  <a:lnTo>
                    <a:pt x="516" y="244"/>
                  </a:lnTo>
                  <a:lnTo>
                    <a:pt x="522" y="244"/>
                  </a:lnTo>
                  <a:lnTo>
                    <a:pt x="522" y="238"/>
                  </a:lnTo>
                  <a:lnTo>
                    <a:pt x="527" y="238"/>
                  </a:lnTo>
                  <a:lnTo>
                    <a:pt x="539" y="232"/>
                  </a:lnTo>
                  <a:lnTo>
                    <a:pt x="539" y="227"/>
                  </a:lnTo>
                  <a:lnTo>
                    <a:pt x="539" y="215"/>
                  </a:lnTo>
                  <a:lnTo>
                    <a:pt x="539" y="210"/>
                  </a:lnTo>
                  <a:lnTo>
                    <a:pt x="539" y="204"/>
                  </a:lnTo>
                  <a:lnTo>
                    <a:pt x="533" y="198"/>
                  </a:lnTo>
                  <a:lnTo>
                    <a:pt x="527" y="198"/>
                  </a:lnTo>
                  <a:lnTo>
                    <a:pt x="527" y="193"/>
                  </a:lnTo>
                  <a:lnTo>
                    <a:pt x="527" y="187"/>
                  </a:lnTo>
                  <a:lnTo>
                    <a:pt x="522" y="176"/>
                  </a:lnTo>
                  <a:lnTo>
                    <a:pt x="522" y="170"/>
                  </a:lnTo>
                  <a:lnTo>
                    <a:pt x="510" y="153"/>
                  </a:lnTo>
                  <a:lnTo>
                    <a:pt x="510" y="142"/>
                  </a:lnTo>
                  <a:lnTo>
                    <a:pt x="510" y="130"/>
                  </a:lnTo>
                  <a:lnTo>
                    <a:pt x="505" y="113"/>
                  </a:lnTo>
                  <a:lnTo>
                    <a:pt x="505" y="102"/>
                  </a:lnTo>
                  <a:lnTo>
                    <a:pt x="499" y="91"/>
                  </a:lnTo>
                  <a:lnTo>
                    <a:pt x="499" y="85"/>
                  </a:lnTo>
                  <a:lnTo>
                    <a:pt x="499" y="79"/>
                  </a:lnTo>
                  <a:lnTo>
                    <a:pt x="499" y="74"/>
                  </a:lnTo>
                  <a:lnTo>
                    <a:pt x="505" y="74"/>
                  </a:lnTo>
                  <a:lnTo>
                    <a:pt x="505" y="68"/>
                  </a:lnTo>
                  <a:lnTo>
                    <a:pt x="505" y="62"/>
                  </a:lnTo>
                  <a:lnTo>
                    <a:pt x="510" y="62"/>
                  </a:lnTo>
                  <a:lnTo>
                    <a:pt x="510" y="57"/>
                  </a:lnTo>
                  <a:lnTo>
                    <a:pt x="510" y="51"/>
                  </a:lnTo>
                  <a:lnTo>
                    <a:pt x="510" y="45"/>
                  </a:lnTo>
                  <a:lnTo>
                    <a:pt x="527" y="34"/>
                  </a:lnTo>
                  <a:lnTo>
                    <a:pt x="533" y="34"/>
                  </a:lnTo>
                  <a:lnTo>
                    <a:pt x="539" y="34"/>
                  </a:lnTo>
                  <a:lnTo>
                    <a:pt x="550" y="34"/>
                  </a:lnTo>
                  <a:lnTo>
                    <a:pt x="556" y="34"/>
                  </a:lnTo>
                  <a:lnTo>
                    <a:pt x="561" y="34"/>
                  </a:lnTo>
                  <a:lnTo>
                    <a:pt x="567" y="28"/>
                  </a:lnTo>
                  <a:lnTo>
                    <a:pt x="573" y="28"/>
                  </a:lnTo>
                  <a:lnTo>
                    <a:pt x="573" y="23"/>
                  </a:lnTo>
                  <a:lnTo>
                    <a:pt x="578" y="23"/>
                  </a:lnTo>
                  <a:lnTo>
                    <a:pt x="584" y="17"/>
                  </a:lnTo>
                  <a:lnTo>
                    <a:pt x="590" y="17"/>
                  </a:lnTo>
                  <a:lnTo>
                    <a:pt x="595" y="17"/>
                  </a:lnTo>
                  <a:lnTo>
                    <a:pt x="595" y="11"/>
                  </a:lnTo>
                  <a:lnTo>
                    <a:pt x="601" y="11"/>
                  </a:lnTo>
                  <a:lnTo>
                    <a:pt x="607" y="6"/>
                  </a:lnTo>
                  <a:lnTo>
                    <a:pt x="612" y="6"/>
                  </a:lnTo>
                  <a:lnTo>
                    <a:pt x="618" y="6"/>
                  </a:lnTo>
                  <a:lnTo>
                    <a:pt x="624" y="6"/>
                  </a:lnTo>
                  <a:lnTo>
                    <a:pt x="629" y="0"/>
                  </a:lnTo>
                  <a:lnTo>
                    <a:pt x="641" y="0"/>
                  </a:lnTo>
                  <a:lnTo>
                    <a:pt x="646" y="0"/>
                  </a:lnTo>
                  <a:lnTo>
                    <a:pt x="658" y="6"/>
                  </a:lnTo>
                  <a:lnTo>
                    <a:pt x="669" y="6"/>
                  </a:lnTo>
                  <a:lnTo>
                    <a:pt x="680" y="6"/>
                  </a:lnTo>
                  <a:lnTo>
                    <a:pt x="686" y="6"/>
                  </a:lnTo>
                  <a:lnTo>
                    <a:pt x="703" y="11"/>
                  </a:lnTo>
                  <a:lnTo>
                    <a:pt x="714" y="11"/>
                  </a:lnTo>
                  <a:lnTo>
                    <a:pt x="731" y="11"/>
                  </a:lnTo>
                  <a:lnTo>
                    <a:pt x="737" y="11"/>
                  </a:lnTo>
                  <a:lnTo>
                    <a:pt x="743" y="11"/>
                  </a:lnTo>
                  <a:lnTo>
                    <a:pt x="748" y="11"/>
                  </a:lnTo>
                  <a:lnTo>
                    <a:pt x="748" y="17"/>
                  </a:lnTo>
                  <a:lnTo>
                    <a:pt x="754" y="17"/>
                  </a:lnTo>
                  <a:lnTo>
                    <a:pt x="760" y="17"/>
                  </a:lnTo>
                  <a:lnTo>
                    <a:pt x="771" y="23"/>
                  </a:lnTo>
                  <a:lnTo>
                    <a:pt x="777" y="17"/>
                  </a:lnTo>
                  <a:lnTo>
                    <a:pt x="777" y="23"/>
                  </a:lnTo>
                  <a:lnTo>
                    <a:pt x="782" y="23"/>
                  </a:lnTo>
                  <a:lnTo>
                    <a:pt x="782" y="17"/>
                  </a:lnTo>
                  <a:lnTo>
                    <a:pt x="788" y="17"/>
                  </a:lnTo>
                  <a:lnTo>
                    <a:pt x="794" y="17"/>
                  </a:lnTo>
                  <a:lnTo>
                    <a:pt x="799" y="17"/>
                  </a:lnTo>
                  <a:lnTo>
                    <a:pt x="805" y="11"/>
                  </a:lnTo>
                  <a:lnTo>
                    <a:pt x="816" y="23"/>
                  </a:lnTo>
                  <a:lnTo>
                    <a:pt x="822" y="23"/>
                  </a:lnTo>
                  <a:lnTo>
                    <a:pt x="822" y="28"/>
                  </a:lnTo>
                  <a:lnTo>
                    <a:pt x="822" y="34"/>
                  </a:lnTo>
                  <a:lnTo>
                    <a:pt x="822" y="40"/>
                  </a:lnTo>
                  <a:lnTo>
                    <a:pt x="828" y="40"/>
                  </a:lnTo>
                  <a:lnTo>
                    <a:pt x="828" y="45"/>
                  </a:lnTo>
                  <a:lnTo>
                    <a:pt x="833" y="45"/>
                  </a:lnTo>
                  <a:lnTo>
                    <a:pt x="833" y="51"/>
                  </a:lnTo>
                  <a:lnTo>
                    <a:pt x="833" y="57"/>
                  </a:lnTo>
                  <a:lnTo>
                    <a:pt x="833" y="62"/>
                  </a:lnTo>
                  <a:lnTo>
                    <a:pt x="839" y="62"/>
                  </a:lnTo>
                  <a:lnTo>
                    <a:pt x="845" y="68"/>
                  </a:lnTo>
                  <a:lnTo>
                    <a:pt x="850" y="74"/>
                  </a:lnTo>
                  <a:lnTo>
                    <a:pt x="862" y="74"/>
                  </a:lnTo>
                  <a:lnTo>
                    <a:pt x="867" y="74"/>
                  </a:lnTo>
                  <a:lnTo>
                    <a:pt x="867" y="79"/>
                  </a:lnTo>
                  <a:lnTo>
                    <a:pt x="873" y="85"/>
                  </a:lnTo>
                  <a:lnTo>
                    <a:pt x="879" y="85"/>
                  </a:lnTo>
                  <a:lnTo>
                    <a:pt x="879" y="91"/>
                  </a:lnTo>
                  <a:lnTo>
                    <a:pt x="884" y="91"/>
                  </a:lnTo>
                  <a:lnTo>
                    <a:pt x="884" y="96"/>
                  </a:lnTo>
                  <a:lnTo>
                    <a:pt x="890" y="96"/>
                  </a:lnTo>
                  <a:lnTo>
                    <a:pt x="890" y="102"/>
                  </a:lnTo>
                  <a:lnTo>
                    <a:pt x="896" y="102"/>
                  </a:lnTo>
                  <a:lnTo>
                    <a:pt x="896" y="108"/>
                  </a:lnTo>
                  <a:lnTo>
                    <a:pt x="901" y="108"/>
                  </a:lnTo>
                  <a:lnTo>
                    <a:pt x="901" y="113"/>
                  </a:lnTo>
                  <a:lnTo>
                    <a:pt x="901" y="119"/>
                  </a:lnTo>
                  <a:lnTo>
                    <a:pt x="907" y="119"/>
                  </a:lnTo>
                  <a:lnTo>
                    <a:pt x="907" y="125"/>
                  </a:lnTo>
                  <a:lnTo>
                    <a:pt x="907" y="130"/>
                  </a:lnTo>
                  <a:lnTo>
                    <a:pt x="907" y="142"/>
                  </a:lnTo>
                  <a:lnTo>
                    <a:pt x="907" y="147"/>
                  </a:lnTo>
                  <a:lnTo>
                    <a:pt x="907" y="159"/>
                  </a:lnTo>
                  <a:lnTo>
                    <a:pt x="907" y="170"/>
                  </a:lnTo>
                  <a:lnTo>
                    <a:pt x="907" y="176"/>
                  </a:lnTo>
                  <a:lnTo>
                    <a:pt x="907" y="181"/>
                  </a:lnTo>
                  <a:lnTo>
                    <a:pt x="913" y="187"/>
                  </a:lnTo>
                  <a:lnTo>
                    <a:pt x="918" y="187"/>
                  </a:lnTo>
                  <a:lnTo>
                    <a:pt x="918" y="193"/>
                  </a:lnTo>
                  <a:lnTo>
                    <a:pt x="918" y="198"/>
                  </a:lnTo>
                  <a:lnTo>
                    <a:pt x="930" y="198"/>
                  </a:lnTo>
                  <a:lnTo>
                    <a:pt x="930" y="204"/>
                  </a:lnTo>
                  <a:lnTo>
                    <a:pt x="935" y="210"/>
                  </a:lnTo>
                  <a:lnTo>
                    <a:pt x="935" y="215"/>
                  </a:lnTo>
                  <a:lnTo>
                    <a:pt x="947" y="215"/>
                  </a:lnTo>
                  <a:lnTo>
                    <a:pt x="947" y="221"/>
                  </a:lnTo>
                  <a:lnTo>
                    <a:pt x="958" y="227"/>
                  </a:lnTo>
                  <a:lnTo>
                    <a:pt x="964" y="227"/>
                  </a:lnTo>
                  <a:lnTo>
                    <a:pt x="964" y="232"/>
                  </a:lnTo>
                  <a:lnTo>
                    <a:pt x="964" y="238"/>
                  </a:lnTo>
                  <a:lnTo>
                    <a:pt x="969" y="244"/>
                  </a:lnTo>
                  <a:lnTo>
                    <a:pt x="969" y="249"/>
                  </a:lnTo>
                  <a:lnTo>
                    <a:pt x="969" y="255"/>
                  </a:lnTo>
                  <a:lnTo>
                    <a:pt x="964" y="266"/>
                  </a:lnTo>
                  <a:lnTo>
                    <a:pt x="964" y="272"/>
                  </a:lnTo>
                  <a:lnTo>
                    <a:pt x="958" y="283"/>
                  </a:lnTo>
                  <a:lnTo>
                    <a:pt x="947" y="295"/>
                  </a:lnTo>
                  <a:lnTo>
                    <a:pt x="947" y="300"/>
                  </a:lnTo>
                  <a:lnTo>
                    <a:pt x="941" y="300"/>
                  </a:lnTo>
                  <a:lnTo>
                    <a:pt x="941" y="312"/>
                  </a:lnTo>
                  <a:lnTo>
                    <a:pt x="935" y="312"/>
                  </a:lnTo>
                  <a:lnTo>
                    <a:pt x="935" y="317"/>
                  </a:lnTo>
                  <a:lnTo>
                    <a:pt x="935" y="323"/>
                  </a:lnTo>
                  <a:lnTo>
                    <a:pt x="935" y="329"/>
                  </a:lnTo>
                  <a:lnTo>
                    <a:pt x="930" y="340"/>
                  </a:lnTo>
                  <a:lnTo>
                    <a:pt x="930" y="363"/>
                  </a:lnTo>
                  <a:lnTo>
                    <a:pt x="930" y="368"/>
                  </a:lnTo>
                  <a:lnTo>
                    <a:pt x="930" y="374"/>
                  </a:lnTo>
                  <a:lnTo>
                    <a:pt x="930" y="380"/>
                  </a:lnTo>
                  <a:lnTo>
                    <a:pt x="930" y="385"/>
                  </a:lnTo>
                  <a:lnTo>
                    <a:pt x="924" y="385"/>
                  </a:lnTo>
                  <a:lnTo>
                    <a:pt x="924" y="391"/>
                  </a:lnTo>
                  <a:lnTo>
                    <a:pt x="918" y="391"/>
                  </a:lnTo>
                  <a:lnTo>
                    <a:pt x="918" y="397"/>
                  </a:lnTo>
                  <a:lnTo>
                    <a:pt x="913" y="402"/>
                  </a:lnTo>
                  <a:lnTo>
                    <a:pt x="907" y="408"/>
                  </a:lnTo>
                  <a:lnTo>
                    <a:pt x="901" y="408"/>
                  </a:lnTo>
                  <a:lnTo>
                    <a:pt x="896" y="414"/>
                  </a:lnTo>
                  <a:lnTo>
                    <a:pt x="890" y="414"/>
                  </a:lnTo>
                  <a:lnTo>
                    <a:pt x="890" y="419"/>
                  </a:lnTo>
                  <a:lnTo>
                    <a:pt x="884" y="419"/>
                  </a:lnTo>
                  <a:lnTo>
                    <a:pt x="879" y="419"/>
                  </a:lnTo>
                  <a:lnTo>
                    <a:pt x="873" y="425"/>
                  </a:lnTo>
                  <a:lnTo>
                    <a:pt x="867" y="431"/>
                  </a:lnTo>
                  <a:lnTo>
                    <a:pt x="867" y="436"/>
                  </a:lnTo>
                  <a:lnTo>
                    <a:pt x="862" y="436"/>
                  </a:lnTo>
                  <a:lnTo>
                    <a:pt x="862" y="442"/>
                  </a:lnTo>
                  <a:lnTo>
                    <a:pt x="862" y="448"/>
                  </a:lnTo>
                  <a:lnTo>
                    <a:pt x="856" y="448"/>
                  </a:lnTo>
                  <a:lnTo>
                    <a:pt x="856" y="453"/>
                  </a:lnTo>
                  <a:lnTo>
                    <a:pt x="850" y="459"/>
                  </a:lnTo>
                  <a:lnTo>
                    <a:pt x="850" y="465"/>
                  </a:lnTo>
                  <a:lnTo>
                    <a:pt x="845" y="465"/>
                  </a:lnTo>
                  <a:lnTo>
                    <a:pt x="845" y="470"/>
                  </a:lnTo>
                  <a:lnTo>
                    <a:pt x="839" y="476"/>
                  </a:lnTo>
                  <a:lnTo>
                    <a:pt x="833" y="476"/>
                  </a:lnTo>
                  <a:lnTo>
                    <a:pt x="833" y="482"/>
                  </a:lnTo>
                  <a:lnTo>
                    <a:pt x="833" y="487"/>
                  </a:lnTo>
                  <a:lnTo>
                    <a:pt x="828" y="487"/>
                  </a:lnTo>
                  <a:lnTo>
                    <a:pt x="828" y="493"/>
                  </a:lnTo>
                  <a:lnTo>
                    <a:pt x="828" y="499"/>
                  </a:lnTo>
                  <a:lnTo>
                    <a:pt x="822" y="504"/>
                  </a:lnTo>
                  <a:lnTo>
                    <a:pt x="816" y="504"/>
                  </a:lnTo>
                  <a:lnTo>
                    <a:pt x="816" y="510"/>
                  </a:lnTo>
                  <a:lnTo>
                    <a:pt x="811" y="510"/>
                  </a:lnTo>
                  <a:lnTo>
                    <a:pt x="811" y="516"/>
                  </a:lnTo>
                  <a:lnTo>
                    <a:pt x="805" y="516"/>
                  </a:lnTo>
                  <a:lnTo>
                    <a:pt x="805" y="521"/>
                  </a:lnTo>
                  <a:lnTo>
                    <a:pt x="799" y="521"/>
                  </a:lnTo>
                  <a:lnTo>
                    <a:pt x="799" y="527"/>
                  </a:lnTo>
                  <a:lnTo>
                    <a:pt x="799" y="533"/>
                  </a:lnTo>
                  <a:lnTo>
                    <a:pt x="794" y="533"/>
                  </a:lnTo>
                  <a:lnTo>
                    <a:pt x="788" y="538"/>
                  </a:lnTo>
                  <a:lnTo>
                    <a:pt x="788" y="544"/>
                  </a:lnTo>
                  <a:lnTo>
                    <a:pt x="782" y="544"/>
                  </a:lnTo>
                  <a:lnTo>
                    <a:pt x="788" y="550"/>
                  </a:lnTo>
                  <a:lnTo>
                    <a:pt x="794" y="550"/>
                  </a:lnTo>
                  <a:lnTo>
                    <a:pt x="799" y="550"/>
                  </a:lnTo>
                  <a:lnTo>
                    <a:pt x="799" y="555"/>
                  </a:lnTo>
                  <a:lnTo>
                    <a:pt x="805" y="561"/>
                  </a:lnTo>
                  <a:lnTo>
                    <a:pt x="811" y="572"/>
                  </a:lnTo>
                  <a:lnTo>
                    <a:pt x="816" y="578"/>
                  </a:lnTo>
                  <a:lnTo>
                    <a:pt x="816" y="584"/>
                  </a:lnTo>
                  <a:lnTo>
                    <a:pt x="822" y="595"/>
                  </a:lnTo>
                  <a:lnTo>
                    <a:pt x="822" y="601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833" y="618"/>
                  </a:lnTo>
                  <a:lnTo>
                    <a:pt x="833" y="623"/>
                  </a:lnTo>
                  <a:lnTo>
                    <a:pt x="839" y="623"/>
                  </a:lnTo>
                  <a:lnTo>
                    <a:pt x="845" y="629"/>
                  </a:lnTo>
                  <a:lnTo>
                    <a:pt x="850" y="623"/>
                  </a:lnTo>
                  <a:lnTo>
                    <a:pt x="856" y="618"/>
                  </a:lnTo>
                  <a:lnTo>
                    <a:pt x="856" y="612"/>
                  </a:lnTo>
                  <a:lnTo>
                    <a:pt x="862" y="606"/>
                  </a:lnTo>
                  <a:lnTo>
                    <a:pt x="862" y="601"/>
                  </a:lnTo>
                  <a:lnTo>
                    <a:pt x="862" y="595"/>
                  </a:lnTo>
                  <a:lnTo>
                    <a:pt x="867" y="589"/>
                  </a:lnTo>
                  <a:lnTo>
                    <a:pt x="873" y="589"/>
                  </a:lnTo>
                  <a:lnTo>
                    <a:pt x="873" y="584"/>
                  </a:lnTo>
                  <a:lnTo>
                    <a:pt x="879" y="584"/>
                  </a:lnTo>
                  <a:lnTo>
                    <a:pt x="884" y="584"/>
                  </a:lnTo>
                  <a:lnTo>
                    <a:pt x="890" y="589"/>
                  </a:lnTo>
                  <a:lnTo>
                    <a:pt x="896" y="589"/>
                  </a:lnTo>
                  <a:lnTo>
                    <a:pt x="896" y="595"/>
                  </a:lnTo>
                  <a:lnTo>
                    <a:pt x="901" y="601"/>
                  </a:lnTo>
                  <a:lnTo>
                    <a:pt x="907" y="606"/>
                  </a:lnTo>
                  <a:lnTo>
                    <a:pt x="913" y="606"/>
                  </a:lnTo>
                  <a:lnTo>
                    <a:pt x="913" y="618"/>
                  </a:lnTo>
                  <a:lnTo>
                    <a:pt x="918" y="618"/>
                  </a:lnTo>
                  <a:lnTo>
                    <a:pt x="924" y="629"/>
                  </a:lnTo>
                  <a:lnTo>
                    <a:pt x="930" y="629"/>
                  </a:lnTo>
                  <a:lnTo>
                    <a:pt x="935" y="629"/>
                  </a:lnTo>
                  <a:lnTo>
                    <a:pt x="935" y="635"/>
                  </a:lnTo>
                  <a:lnTo>
                    <a:pt x="941" y="635"/>
                  </a:lnTo>
                  <a:lnTo>
                    <a:pt x="941" y="641"/>
                  </a:lnTo>
                  <a:lnTo>
                    <a:pt x="947" y="646"/>
                  </a:lnTo>
                  <a:lnTo>
                    <a:pt x="952" y="646"/>
                  </a:lnTo>
                  <a:lnTo>
                    <a:pt x="952" y="658"/>
                  </a:lnTo>
                  <a:lnTo>
                    <a:pt x="952" y="663"/>
                  </a:lnTo>
                  <a:lnTo>
                    <a:pt x="952" y="669"/>
                  </a:lnTo>
                  <a:lnTo>
                    <a:pt x="952" y="675"/>
                  </a:lnTo>
                  <a:lnTo>
                    <a:pt x="952" y="680"/>
                  </a:lnTo>
                  <a:lnTo>
                    <a:pt x="952" y="686"/>
                  </a:lnTo>
                  <a:lnTo>
                    <a:pt x="952" y="692"/>
                  </a:lnTo>
                  <a:lnTo>
                    <a:pt x="952" y="697"/>
                  </a:lnTo>
                  <a:lnTo>
                    <a:pt x="952" y="703"/>
                  </a:lnTo>
                  <a:lnTo>
                    <a:pt x="958" y="720"/>
                  </a:lnTo>
                  <a:lnTo>
                    <a:pt x="958" y="726"/>
                  </a:lnTo>
                  <a:lnTo>
                    <a:pt x="958" y="737"/>
                  </a:lnTo>
                  <a:lnTo>
                    <a:pt x="964" y="743"/>
                  </a:lnTo>
                  <a:lnTo>
                    <a:pt x="969" y="754"/>
                  </a:lnTo>
                  <a:lnTo>
                    <a:pt x="969" y="760"/>
                  </a:lnTo>
                  <a:lnTo>
                    <a:pt x="969" y="765"/>
                  </a:lnTo>
                  <a:lnTo>
                    <a:pt x="952" y="777"/>
                  </a:lnTo>
                  <a:lnTo>
                    <a:pt x="947" y="782"/>
                  </a:lnTo>
                  <a:lnTo>
                    <a:pt x="947" y="788"/>
                  </a:lnTo>
                  <a:lnTo>
                    <a:pt x="947" y="794"/>
                  </a:lnTo>
                  <a:lnTo>
                    <a:pt x="941" y="794"/>
                  </a:lnTo>
                  <a:lnTo>
                    <a:pt x="941" y="805"/>
                  </a:lnTo>
                  <a:lnTo>
                    <a:pt x="935" y="811"/>
                  </a:lnTo>
                  <a:lnTo>
                    <a:pt x="935" y="822"/>
                  </a:lnTo>
                  <a:lnTo>
                    <a:pt x="935" y="828"/>
                  </a:lnTo>
                  <a:lnTo>
                    <a:pt x="935" y="833"/>
                  </a:lnTo>
                  <a:lnTo>
                    <a:pt x="941" y="833"/>
                  </a:lnTo>
                  <a:lnTo>
                    <a:pt x="941" y="845"/>
                  </a:lnTo>
                  <a:lnTo>
                    <a:pt x="941" y="856"/>
                  </a:lnTo>
                  <a:lnTo>
                    <a:pt x="947" y="867"/>
                  </a:lnTo>
                  <a:lnTo>
                    <a:pt x="952" y="879"/>
                  </a:lnTo>
                  <a:lnTo>
                    <a:pt x="952" y="884"/>
                  </a:lnTo>
                  <a:lnTo>
                    <a:pt x="947" y="890"/>
                  </a:lnTo>
                  <a:lnTo>
                    <a:pt x="935" y="890"/>
                  </a:lnTo>
                  <a:lnTo>
                    <a:pt x="924" y="890"/>
                  </a:lnTo>
                  <a:lnTo>
                    <a:pt x="918" y="890"/>
                  </a:lnTo>
                  <a:lnTo>
                    <a:pt x="913" y="890"/>
                  </a:lnTo>
                  <a:lnTo>
                    <a:pt x="907" y="890"/>
                  </a:lnTo>
                  <a:lnTo>
                    <a:pt x="907" y="901"/>
                  </a:lnTo>
                  <a:lnTo>
                    <a:pt x="901" y="901"/>
                  </a:lnTo>
                  <a:lnTo>
                    <a:pt x="896" y="907"/>
                  </a:lnTo>
                  <a:lnTo>
                    <a:pt x="890" y="913"/>
                  </a:lnTo>
                  <a:lnTo>
                    <a:pt x="884" y="913"/>
                  </a:lnTo>
                  <a:lnTo>
                    <a:pt x="884" y="918"/>
                  </a:lnTo>
                  <a:lnTo>
                    <a:pt x="879" y="918"/>
                  </a:lnTo>
                  <a:lnTo>
                    <a:pt x="873" y="924"/>
                  </a:lnTo>
                  <a:lnTo>
                    <a:pt x="873" y="930"/>
                  </a:lnTo>
                  <a:lnTo>
                    <a:pt x="873" y="941"/>
                  </a:lnTo>
                  <a:lnTo>
                    <a:pt x="867" y="941"/>
                  </a:lnTo>
                  <a:lnTo>
                    <a:pt x="862" y="947"/>
                  </a:lnTo>
                  <a:lnTo>
                    <a:pt x="856" y="947"/>
                  </a:lnTo>
                  <a:lnTo>
                    <a:pt x="856" y="952"/>
                  </a:lnTo>
                  <a:lnTo>
                    <a:pt x="856" y="958"/>
                  </a:lnTo>
                  <a:lnTo>
                    <a:pt x="850" y="958"/>
                  </a:lnTo>
                  <a:lnTo>
                    <a:pt x="850" y="964"/>
                  </a:lnTo>
                  <a:lnTo>
                    <a:pt x="856" y="964"/>
                  </a:lnTo>
                  <a:lnTo>
                    <a:pt x="856" y="969"/>
                  </a:lnTo>
                  <a:lnTo>
                    <a:pt x="862" y="969"/>
                  </a:lnTo>
                  <a:lnTo>
                    <a:pt x="862" y="975"/>
                  </a:lnTo>
                  <a:lnTo>
                    <a:pt x="862" y="981"/>
                  </a:lnTo>
                  <a:lnTo>
                    <a:pt x="867" y="981"/>
                  </a:lnTo>
                  <a:lnTo>
                    <a:pt x="862" y="986"/>
                  </a:lnTo>
                  <a:lnTo>
                    <a:pt x="856" y="992"/>
                  </a:lnTo>
                  <a:lnTo>
                    <a:pt x="856" y="998"/>
                  </a:lnTo>
                  <a:lnTo>
                    <a:pt x="862" y="998"/>
                  </a:lnTo>
                  <a:lnTo>
                    <a:pt x="862" y="1003"/>
                  </a:lnTo>
                  <a:lnTo>
                    <a:pt x="862" y="1009"/>
                  </a:lnTo>
                  <a:lnTo>
                    <a:pt x="856" y="1009"/>
                  </a:lnTo>
                  <a:lnTo>
                    <a:pt x="850" y="1009"/>
                  </a:lnTo>
                  <a:lnTo>
                    <a:pt x="850" y="1015"/>
                  </a:lnTo>
                  <a:lnTo>
                    <a:pt x="850" y="1020"/>
                  </a:lnTo>
                  <a:lnTo>
                    <a:pt x="850" y="1026"/>
                  </a:lnTo>
                  <a:lnTo>
                    <a:pt x="850" y="1032"/>
                  </a:lnTo>
                  <a:lnTo>
                    <a:pt x="845" y="1032"/>
                  </a:lnTo>
                  <a:lnTo>
                    <a:pt x="845" y="1037"/>
                  </a:lnTo>
                  <a:lnTo>
                    <a:pt x="839" y="1037"/>
                  </a:lnTo>
                  <a:lnTo>
                    <a:pt x="839" y="1043"/>
                  </a:lnTo>
                  <a:lnTo>
                    <a:pt x="839" y="1049"/>
                  </a:lnTo>
                  <a:lnTo>
                    <a:pt x="833" y="1049"/>
                  </a:lnTo>
                  <a:lnTo>
                    <a:pt x="833" y="1054"/>
                  </a:lnTo>
                  <a:lnTo>
                    <a:pt x="828" y="1054"/>
                  </a:lnTo>
                  <a:lnTo>
                    <a:pt x="822" y="1054"/>
                  </a:lnTo>
                  <a:lnTo>
                    <a:pt x="816" y="1049"/>
                  </a:lnTo>
                  <a:lnTo>
                    <a:pt x="811" y="1054"/>
                  </a:lnTo>
                  <a:lnTo>
                    <a:pt x="805" y="1054"/>
                  </a:lnTo>
                  <a:lnTo>
                    <a:pt x="805" y="1060"/>
                  </a:lnTo>
                  <a:lnTo>
                    <a:pt x="805" y="1066"/>
                  </a:lnTo>
                  <a:lnTo>
                    <a:pt x="805" y="1071"/>
                  </a:lnTo>
                  <a:lnTo>
                    <a:pt x="805" y="1077"/>
                  </a:lnTo>
                  <a:lnTo>
                    <a:pt x="794" y="1077"/>
                  </a:lnTo>
                  <a:lnTo>
                    <a:pt x="788" y="1077"/>
                  </a:lnTo>
                  <a:lnTo>
                    <a:pt x="788" y="1083"/>
                  </a:lnTo>
                  <a:lnTo>
                    <a:pt x="782" y="1077"/>
                  </a:lnTo>
                  <a:lnTo>
                    <a:pt x="777" y="1083"/>
                  </a:lnTo>
                  <a:lnTo>
                    <a:pt x="777" y="1088"/>
                  </a:lnTo>
                  <a:lnTo>
                    <a:pt x="771" y="1088"/>
                  </a:lnTo>
                  <a:lnTo>
                    <a:pt x="765" y="1088"/>
                  </a:lnTo>
                  <a:lnTo>
                    <a:pt x="765" y="1083"/>
                  </a:lnTo>
                  <a:lnTo>
                    <a:pt x="760" y="1083"/>
                  </a:lnTo>
                  <a:lnTo>
                    <a:pt x="754" y="1077"/>
                  </a:lnTo>
                  <a:lnTo>
                    <a:pt x="748" y="1077"/>
                  </a:lnTo>
                  <a:lnTo>
                    <a:pt x="743" y="1083"/>
                  </a:lnTo>
                  <a:lnTo>
                    <a:pt x="737" y="1083"/>
                  </a:lnTo>
                  <a:lnTo>
                    <a:pt x="737" y="1077"/>
                  </a:lnTo>
                  <a:lnTo>
                    <a:pt x="731" y="1077"/>
                  </a:lnTo>
                  <a:lnTo>
                    <a:pt x="726" y="1077"/>
                  </a:lnTo>
                  <a:lnTo>
                    <a:pt x="720" y="1077"/>
                  </a:lnTo>
                  <a:lnTo>
                    <a:pt x="720" y="1071"/>
                  </a:lnTo>
                  <a:lnTo>
                    <a:pt x="714" y="1071"/>
                  </a:lnTo>
                  <a:lnTo>
                    <a:pt x="714" y="1066"/>
                  </a:lnTo>
                  <a:lnTo>
                    <a:pt x="709" y="1066"/>
                  </a:lnTo>
                  <a:lnTo>
                    <a:pt x="703" y="1071"/>
                  </a:lnTo>
                  <a:lnTo>
                    <a:pt x="697" y="1077"/>
                  </a:lnTo>
                  <a:lnTo>
                    <a:pt x="692" y="1077"/>
                  </a:lnTo>
                  <a:lnTo>
                    <a:pt x="686" y="1077"/>
                  </a:lnTo>
                  <a:lnTo>
                    <a:pt x="686" y="1071"/>
                  </a:lnTo>
                  <a:lnTo>
                    <a:pt x="686" y="1060"/>
                  </a:lnTo>
                  <a:lnTo>
                    <a:pt x="686" y="1049"/>
                  </a:lnTo>
                  <a:lnTo>
                    <a:pt x="686" y="1037"/>
                  </a:lnTo>
                  <a:lnTo>
                    <a:pt x="692" y="1026"/>
                  </a:lnTo>
                  <a:lnTo>
                    <a:pt x="686" y="1020"/>
                  </a:lnTo>
                  <a:lnTo>
                    <a:pt x="680" y="1020"/>
                  </a:lnTo>
                  <a:lnTo>
                    <a:pt x="680" y="1015"/>
                  </a:lnTo>
                  <a:lnTo>
                    <a:pt x="675" y="1015"/>
                  </a:lnTo>
                  <a:lnTo>
                    <a:pt x="669" y="1015"/>
                  </a:lnTo>
                  <a:lnTo>
                    <a:pt x="669" y="1009"/>
                  </a:lnTo>
                  <a:lnTo>
                    <a:pt x="663" y="1009"/>
                  </a:lnTo>
                  <a:lnTo>
                    <a:pt x="663" y="1015"/>
                  </a:lnTo>
                  <a:lnTo>
                    <a:pt x="652" y="1020"/>
                  </a:lnTo>
                  <a:lnTo>
                    <a:pt x="652" y="1026"/>
                  </a:lnTo>
                  <a:lnTo>
                    <a:pt x="646" y="1026"/>
                  </a:lnTo>
                  <a:lnTo>
                    <a:pt x="646" y="1020"/>
                  </a:lnTo>
                  <a:lnTo>
                    <a:pt x="641" y="1026"/>
                  </a:lnTo>
                  <a:lnTo>
                    <a:pt x="635" y="1020"/>
                  </a:lnTo>
                  <a:lnTo>
                    <a:pt x="635" y="1026"/>
                  </a:lnTo>
                  <a:lnTo>
                    <a:pt x="624" y="1015"/>
                  </a:lnTo>
                  <a:lnTo>
                    <a:pt x="624" y="1003"/>
                  </a:lnTo>
                  <a:lnTo>
                    <a:pt x="624" y="998"/>
                  </a:lnTo>
                  <a:lnTo>
                    <a:pt x="618" y="992"/>
                  </a:lnTo>
                  <a:lnTo>
                    <a:pt x="618" y="998"/>
                  </a:lnTo>
                  <a:lnTo>
                    <a:pt x="612" y="998"/>
                  </a:lnTo>
                  <a:lnTo>
                    <a:pt x="612" y="992"/>
                  </a:lnTo>
                  <a:lnTo>
                    <a:pt x="607" y="986"/>
                  </a:lnTo>
                  <a:lnTo>
                    <a:pt x="601" y="981"/>
                  </a:lnTo>
                  <a:lnTo>
                    <a:pt x="595" y="981"/>
                  </a:lnTo>
                  <a:lnTo>
                    <a:pt x="595" y="975"/>
                  </a:lnTo>
                  <a:lnTo>
                    <a:pt x="590" y="975"/>
                  </a:lnTo>
                  <a:lnTo>
                    <a:pt x="590" y="969"/>
                  </a:lnTo>
                  <a:lnTo>
                    <a:pt x="590" y="964"/>
                  </a:lnTo>
                  <a:lnTo>
                    <a:pt x="590" y="958"/>
                  </a:lnTo>
                  <a:lnTo>
                    <a:pt x="595" y="935"/>
                  </a:lnTo>
                  <a:lnTo>
                    <a:pt x="590" y="930"/>
                  </a:lnTo>
                  <a:lnTo>
                    <a:pt x="584" y="930"/>
                  </a:lnTo>
                  <a:lnTo>
                    <a:pt x="584" y="924"/>
                  </a:lnTo>
                  <a:lnTo>
                    <a:pt x="578" y="924"/>
                  </a:lnTo>
                  <a:lnTo>
                    <a:pt x="573" y="924"/>
                  </a:lnTo>
                  <a:lnTo>
                    <a:pt x="573" y="930"/>
                  </a:lnTo>
                  <a:lnTo>
                    <a:pt x="567" y="930"/>
                  </a:lnTo>
                  <a:lnTo>
                    <a:pt x="567" y="924"/>
                  </a:lnTo>
                  <a:lnTo>
                    <a:pt x="561" y="924"/>
                  </a:lnTo>
                  <a:lnTo>
                    <a:pt x="561" y="918"/>
                  </a:lnTo>
                  <a:lnTo>
                    <a:pt x="556" y="913"/>
                  </a:lnTo>
                  <a:lnTo>
                    <a:pt x="550" y="913"/>
                  </a:lnTo>
                  <a:lnTo>
                    <a:pt x="544" y="907"/>
                  </a:lnTo>
                  <a:lnTo>
                    <a:pt x="539" y="907"/>
                  </a:lnTo>
                  <a:lnTo>
                    <a:pt x="539" y="901"/>
                  </a:lnTo>
                  <a:lnTo>
                    <a:pt x="539" y="896"/>
                  </a:lnTo>
                  <a:lnTo>
                    <a:pt x="533" y="896"/>
                  </a:lnTo>
                  <a:lnTo>
                    <a:pt x="527" y="896"/>
                  </a:lnTo>
                  <a:lnTo>
                    <a:pt x="522" y="896"/>
                  </a:lnTo>
                  <a:lnTo>
                    <a:pt x="510" y="884"/>
                  </a:lnTo>
                  <a:lnTo>
                    <a:pt x="510" y="879"/>
                  </a:lnTo>
                  <a:lnTo>
                    <a:pt x="510" y="873"/>
                  </a:lnTo>
                  <a:lnTo>
                    <a:pt x="510" y="867"/>
                  </a:lnTo>
                  <a:lnTo>
                    <a:pt x="510" y="862"/>
                  </a:lnTo>
                  <a:lnTo>
                    <a:pt x="510" y="856"/>
                  </a:lnTo>
                  <a:lnTo>
                    <a:pt x="505" y="856"/>
                  </a:lnTo>
                  <a:lnTo>
                    <a:pt x="499" y="856"/>
                  </a:lnTo>
                  <a:lnTo>
                    <a:pt x="499" y="862"/>
                  </a:lnTo>
                  <a:lnTo>
                    <a:pt x="499" y="873"/>
                  </a:lnTo>
                  <a:lnTo>
                    <a:pt x="499" y="879"/>
                  </a:lnTo>
                  <a:lnTo>
                    <a:pt x="499" y="890"/>
                  </a:lnTo>
                  <a:lnTo>
                    <a:pt x="499" y="896"/>
                  </a:lnTo>
                  <a:lnTo>
                    <a:pt x="493" y="913"/>
                  </a:lnTo>
                  <a:lnTo>
                    <a:pt x="493" y="918"/>
                  </a:lnTo>
                  <a:lnTo>
                    <a:pt x="493" y="924"/>
                  </a:lnTo>
                  <a:lnTo>
                    <a:pt x="488" y="924"/>
                  </a:lnTo>
                  <a:lnTo>
                    <a:pt x="488" y="935"/>
                  </a:lnTo>
                  <a:lnTo>
                    <a:pt x="482" y="941"/>
                  </a:lnTo>
                  <a:lnTo>
                    <a:pt x="476" y="941"/>
                  </a:lnTo>
                  <a:lnTo>
                    <a:pt x="471" y="941"/>
                  </a:lnTo>
                  <a:lnTo>
                    <a:pt x="471" y="947"/>
                  </a:lnTo>
                  <a:lnTo>
                    <a:pt x="465" y="941"/>
                  </a:lnTo>
                  <a:lnTo>
                    <a:pt x="454" y="941"/>
                  </a:lnTo>
                  <a:lnTo>
                    <a:pt x="448" y="941"/>
                  </a:lnTo>
                  <a:lnTo>
                    <a:pt x="437" y="947"/>
                  </a:lnTo>
                  <a:lnTo>
                    <a:pt x="431" y="947"/>
                  </a:lnTo>
                  <a:lnTo>
                    <a:pt x="425" y="947"/>
                  </a:lnTo>
                  <a:lnTo>
                    <a:pt x="420" y="947"/>
                  </a:lnTo>
                  <a:lnTo>
                    <a:pt x="391" y="947"/>
                  </a:lnTo>
                  <a:lnTo>
                    <a:pt x="374" y="952"/>
                  </a:lnTo>
                  <a:lnTo>
                    <a:pt x="374" y="947"/>
                  </a:lnTo>
                  <a:lnTo>
                    <a:pt x="357" y="935"/>
                  </a:lnTo>
                  <a:lnTo>
                    <a:pt x="357" y="930"/>
                  </a:lnTo>
                  <a:lnTo>
                    <a:pt x="363" y="930"/>
                  </a:lnTo>
                  <a:lnTo>
                    <a:pt x="363" y="924"/>
                  </a:lnTo>
                  <a:lnTo>
                    <a:pt x="363" y="918"/>
                  </a:lnTo>
                  <a:lnTo>
                    <a:pt x="357" y="918"/>
                  </a:lnTo>
                  <a:lnTo>
                    <a:pt x="357" y="913"/>
                  </a:lnTo>
                  <a:lnTo>
                    <a:pt x="357" y="907"/>
                  </a:lnTo>
                  <a:lnTo>
                    <a:pt x="363" y="907"/>
                  </a:lnTo>
                  <a:lnTo>
                    <a:pt x="357" y="907"/>
                  </a:lnTo>
                  <a:lnTo>
                    <a:pt x="357" y="901"/>
                  </a:lnTo>
                  <a:lnTo>
                    <a:pt x="352" y="896"/>
                  </a:lnTo>
                  <a:lnTo>
                    <a:pt x="346" y="901"/>
                  </a:lnTo>
                  <a:lnTo>
                    <a:pt x="346" y="907"/>
                  </a:lnTo>
                  <a:lnTo>
                    <a:pt x="340" y="907"/>
                  </a:lnTo>
                  <a:lnTo>
                    <a:pt x="340" y="913"/>
                  </a:lnTo>
                  <a:lnTo>
                    <a:pt x="329" y="918"/>
                  </a:lnTo>
                  <a:lnTo>
                    <a:pt x="323" y="924"/>
                  </a:lnTo>
                  <a:lnTo>
                    <a:pt x="318" y="930"/>
                  </a:lnTo>
                  <a:lnTo>
                    <a:pt x="312" y="935"/>
                  </a:lnTo>
                  <a:lnTo>
                    <a:pt x="306" y="941"/>
                  </a:lnTo>
                  <a:lnTo>
                    <a:pt x="301" y="947"/>
                  </a:lnTo>
                  <a:lnTo>
                    <a:pt x="295" y="947"/>
                  </a:lnTo>
                  <a:lnTo>
                    <a:pt x="289" y="958"/>
                  </a:lnTo>
                  <a:lnTo>
                    <a:pt x="284" y="964"/>
                  </a:lnTo>
                  <a:lnTo>
                    <a:pt x="278" y="969"/>
                  </a:lnTo>
                  <a:lnTo>
                    <a:pt x="266" y="975"/>
                  </a:lnTo>
                  <a:lnTo>
                    <a:pt x="266" y="981"/>
                  </a:lnTo>
                  <a:lnTo>
                    <a:pt x="261" y="986"/>
                  </a:lnTo>
                  <a:lnTo>
                    <a:pt x="255" y="992"/>
                  </a:lnTo>
                  <a:lnTo>
                    <a:pt x="249" y="992"/>
                  </a:lnTo>
                  <a:lnTo>
                    <a:pt x="244" y="992"/>
                  </a:lnTo>
                  <a:lnTo>
                    <a:pt x="232" y="986"/>
                  </a:lnTo>
                  <a:lnTo>
                    <a:pt x="227" y="986"/>
                  </a:lnTo>
                  <a:lnTo>
                    <a:pt x="221" y="986"/>
                  </a:lnTo>
                  <a:lnTo>
                    <a:pt x="215" y="986"/>
                  </a:lnTo>
                  <a:lnTo>
                    <a:pt x="215" y="992"/>
                  </a:lnTo>
                  <a:lnTo>
                    <a:pt x="215" y="998"/>
                  </a:lnTo>
                  <a:lnTo>
                    <a:pt x="215" y="1003"/>
                  </a:lnTo>
                  <a:lnTo>
                    <a:pt x="210" y="1009"/>
                  </a:lnTo>
                  <a:lnTo>
                    <a:pt x="210" y="1015"/>
                  </a:lnTo>
                  <a:lnTo>
                    <a:pt x="210" y="1020"/>
                  </a:lnTo>
                  <a:lnTo>
                    <a:pt x="210" y="1026"/>
                  </a:lnTo>
                  <a:lnTo>
                    <a:pt x="210" y="1032"/>
                  </a:lnTo>
                  <a:lnTo>
                    <a:pt x="210" y="1037"/>
                  </a:lnTo>
                  <a:lnTo>
                    <a:pt x="204" y="1037"/>
                  </a:lnTo>
                  <a:lnTo>
                    <a:pt x="204" y="1043"/>
                  </a:lnTo>
                  <a:lnTo>
                    <a:pt x="204" y="1049"/>
                  </a:lnTo>
                  <a:lnTo>
                    <a:pt x="198" y="1054"/>
                  </a:lnTo>
                  <a:lnTo>
                    <a:pt x="198" y="1066"/>
                  </a:lnTo>
                  <a:lnTo>
                    <a:pt x="198" y="1071"/>
                  </a:lnTo>
                  <a:lnTo>
                    <a:pt x="193" y="1083"/>
                  </a:lnTo>
                  <a:lnTo>
                    <a:pt x="193" y="1088"/>
                  </a:lnTo>
                  <a:lnTo>
                    <a:pt x="187" y="1088"/>
                  </a:lnTo>
                  <a:lnTo>
                    <a:pt x="187" y="1083"/>
                  </a:lnTo>
                  <a:lnTo>
                    <a:pt x="187" y="1088"/>
                  </a:lnTo>
                  <a:lnTo>
                    <a:pt x="181" y="1083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9" name="Freeform 28"/>
            <p:cNvSpPr>
              <a:spLocks/>
            </p:cNvSpPr>
            <p:nvPr/>
          </p:nvSpPr>
          <p:spPr bwMode="gray">
            <a:xfrm>
              <a:off x="198080" y="4063750"/>
              <a:ext cx="794602" cy="158287"/>
            </a:xfrm>
            <a:custGeom>
              <a:avLst/>
              <a:gdLst>
                <a:gd name="T0" fmla="*/ 2147483647 w 567"/>
                <a:gd name="T1" fmla="*/ 2147483647 h 119"/>
                <a:gd name="T2" fmla="*/ 2147483647 w 567"/>
                <a:gd name="T3" fmla="*/ 2147483647 h 119"/>
                <a:gd name="T4" fmla="*/ 2147483647 w 567"/>
                <a:gd name="T5" fmla="*/ 2147483647 h 119"/>
                <a:gd name="T6" fmla="*/ 2147483647 w 567"/>
                <a:gd name="T7" fmla="*/ 2147483647 h 119"/>
                <a:gd name="T8" fmla="*/ 2147483647 w 567"/>
                <a:gd name="T9" fmla="*/ 2147483647 h 119"/>
                <a:gd name="T10" fmla="*/ 2147483647 w 567"/>
                <a:gd name="T11" fmla="*/ 2147483647 h 119"/>
                <a:gd name="T12" fmla="*/ 2147483647 w 567"/>
                <a:gd name="T13" fmla="*/ 2147483647 h 119"/>
                <a:gd name="T14" fmla="*/ 2147483647 w 567"/>
                <a:gd name="T15" fmla="*/ 2147483647 h 119"/>
                <a:gd name="T16" fmla="*/ 2147483647 w 567"/>
                <a:gd name="T17" fmla="*/ 2147483647 h 119"/>
                <a:gd name="T18" fmla="*/ 2147483647 w 567"/>
                <a:gd name="T19" fmla="*/ 2147483647 h 119"/>
                <a:gd name="T20" fmla="*/ 2147483647 w 567"/>
                <a:gd name="T21" fmla="*/ 2147483647 h 119"/>
                <a:gd name="T22" fmla="*/ 2147483647 w 567"/>
                <a:gd name="T23" fmla="*/ 2147483647 h 119"/>
                <a:gd name="T24" fmla="*/ 2147483647 w 567"/>
                <a:gd name="T25" fmla="*/ 2147483647 h 119"/>
                <a:gd name="T26" fmla="*/ 2147483647 w 567"/>
                <a:gd name="T27" fmla="*/ 2147483647 h 119"/>
                <a:gd name="T28" fmla="*/ 2147483647 w 567"/>
                <a:gd name="T29" fmla="*/ 2147483647 h 119"/>
                <a:gd name="T30" fmla="*/ 2147483647 w 567"/>
                <a:gd name="T31" fmla="*/ 2147483647 h 119"/>
                <a:gd name="T32" fmla="*/ 0 w 567"/>
                <a:gd name="T33" fmla="*/ 2147483647 h 119"/>
                <a:gd name="T34" fmla="*/ 2147483647 w 567"/>
                <a:gd name="T35" fmla="*/ 2147483647 h 119"/>
                <a:gd name="T36" fmla="*/ 2147483647 w 567"/>
                <a:gd name="T37" fmla="*/ 2147483647 h 119"/>
                <a:gd name="T38" fmla="*/ 2147483647 w 567"/>
                <a:gd name="T39" fmla="*/ 2147483647 h 119"/>
                <a:gd name="T40" fmla="*/ 2147483647 w 567"/>
                <a:gd name="T41" fmla="*/ 2147483647 h 119"/>
                <a:gd name="T42" fmla="*/ 2147483647 w 567"/>
                <a:gd name="T43" fmla="*/ 2147483647 h 119"/>
                <a:gd name="T44" fmla="*/ 2147483647 w 567"/>
                <a:gd name="T45" fmla="*/ 2147483647 h 119"/>
                <a:gd name="T46" fmla="*/ 2147483647 w 567"/>
                <a:gd name="T47" fmla="*/ 2147483647 h 119"/>
                <a:gd name="T48" fmla="*/ 2147483647 w 567"/>
                <a:gd name="T49" fmla="*/ 2147483647 h 119"/>
                <a:gd name="T50" fmla="*/ 2147483647 w 567"/>
                <a:gd name="T51" fmla="*/ 2147483647 h 119"/>
                <a:gd name="T52" fmla="*/ 2147483647 w 567"/>
                <a:gd name="T53" fmla="*/ 2147483647 h 119"/>
                <a:gd name="T54" fmla="*/ 2147483647 w 567"/>
                <a:gd name="T55" fmla="*/ 2147483647 h 119"/>
                <a:gd name="T56" fmla="*/ 2147483647 w 567"/>
                <a:gd name="T57" fmla="*/ 2147483647 h 119"/>
                <a:gd name="T58" fmla="*/ 2147483647 w 567"/>
                <a:gd name="T59" fmla="*/ 2147483647 h 119"/>
                <a:gd name="T60" fmla="*/ 2147483647 w 567"/>
                <a:gd name="T61" fmla="*/ 2147483647 h 119"/>
                <a:gd name="T62" fmla="*/ 2147483647 w 567"/>
                <a:gd name="T63" fmla="*/ 0 h 119"/>
                <a:gd name="T64" fmla="*/ 2147483647 w 567"/>
                <a:gd name="T65" fmla="*/ 2147483647 h 119"/>
                <a:gd name="T66" fmla="*/ 2147483647 w 567"/>
                <a:gd name="T67" fmla="*/ 2147483647 h 119"/>
                <a:gd name="T68" fmla="*/ 2147483647 w 567"/>
                <a:gd name="T69" fmla="*/ 2147483647 h 119"/>
                <a:gd name="T70" fmla="*/ 2147483647 w 567"/>
                <a:gd name="T71" fmla="*/ 2147483647 h 119"/>
                <a:gd name="T72" fmla="*/ 2147483647 w 567"/>
                <a:gd name="T73" fmla="*/ 2147483647 h 119"/>
                <a:gd name="T74" fmla="*/ 2147483647 w 567"/>
                <a:gd name="T75" fmla="*/ 2147483647 h 119"/>
                <a:gd name="T76" fmla="*/ 2147483647 w 567"/>
                <a:gd name="T77" fmla="*/ 2147483647 h 119"/>
                <a:gd name="T78" fmla="*/ 2147483647 w 567"/>
                <a:gd name="T79" fmla="*/ 2147483647 h 119"/>
                <a:gd name="T80" fmla="*/ 2147483647 w 567"/>
                <a:gd name="T81" fmla="*/ 2147483647 h 119"/>
                <a:gd name="T82" fmla="*/ 2147483647 w 567"/>
                <a:gd name="T83" fmla="*/ 2147483647 h 119"/>
                <a:gd name="T84" fmla="*/ 2147483647 w 567"/>
                <a:gd name="T85" fmla="*/ 2147483647 h 119"/>
                <a:gd name="T86" fmla="*/ 2147483647 w 567"/>
                <a:gd name="T87" fmla="*/ 2147483647 h 119"/>
                <a:gd name="T88" fmla="*/ 2147483647 w 567"/>
                <a:gd name="T89" fmla="*/ 2147483647 h 119"/>
                <a:gd name="T90" fmla="*/ 2147483647 w 567"/>
                <a:gd name="T91" fmla="*/ 2147483647 h 119"/>
                <a:gd name="T92" fmla="*/ 2147483647 w 567"/>
                <a:gd name="T93" fmla="*/ 2147483647 h 119"/>
                <a:gd name="T94" fmla="*/ 2147483647 w 567"/>
                <a:gd name="T95" fmla="*/ 2147483647 h 119"/>
                <a:gd name="T96" fmla="*/ 2147483647 w 567"/>
                <a:gd name="T97" fmla="*/ 2147483647 h 119"/>
                <a:gd name="T98" fmla="*/ 2147483647 w 567"/>
                <a:gd name="T99" fmla="*/ 2147483647 h 119"/>
                <a:gd name="T100" fmla="*/ 2147483647 w 567"/>
                <a:gd name="T101" fmla="*/ 2147483647 h 11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7"/>
                <a:gd name="T154" fmla="*/ 0 h 119"/>
                <a:gd name="T155" fmla="*/ 567 w 567"/>
                <a:gd name="T156" fmla="*/ 119 h 11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7" h="119">
                  <a:moveTo>
                    <a:pt x="567" y="119"/>
                  </a:moveTo>
                  <a:lnTo>
                    <a:pt x="561" y="119"/>
                  </a:lnTo>
                  <a:lnTo>
                    <a:pt x="550" y="119"/>
                  </a:lnTo>
                  <a:lnTo>
                    <a:pt x="544" y="119"/>
                  </a:lnTo>
                  <a:lnTo>
                    <a:pt x="539" y="113"/>
                  </a:lnTo>
                  <a:lnTo>
                    <a:pt x="533" y="113"/>
                  </a:lnTo>
                  <a:lnTo>
                    <a:pt x="516" y="113"/>
                  </a:lnTo>
                  <a:lnTo>
                    <a:pt x="505" y="107"/>
                  </a:lnTo>
                  <a:lnTo>
                    <a:pt x="488" y="107"/>
                  </a:lnTo>
                  <a:lnTo>
                    <a:pt x="476" y="102"/>
                  </a:lnTo>
                  <a:lnTo>
                    <a:pt x="471" y="102"/>
                  </a:lnTo>
                  <a:lnTo>
                    <a:pt x="459" y="102"/>
                  </a:lnTo>
                  <a:lnTo>
                    <a:pt x="437" y="102"/>
                  </a:lnTo>
                  <a:lnTo>
                    <a:pt x="431" y="102"/>
                  </a:lnTo>
                  <a:lnTo>
                    <a:pt x="408" y="102"/>
                  </a:lnTo>
                  <a:lnTo>
                    <a:pt x="397" y="96"/>
                  </a:lnTo>
                  <a:lnTo>
                    <a:pt x="391" y="96"/>
                  </a:lnTo>
                  <a:lnTo>
                    <a:pt x="386" y="96"/>
                  </a:lnTo>
                  <a:lnTo>
                    <a:pt x="380" y="96"/>
                  </a:lnTo>
                  <a:lnTo>
                    <a:pt x="369" y="102"/>
                  </a:lnTo>
                  <a:lnTo>
                    <a:pt x="340" y="102"/>
                  </a:lnTo>
                  <a:lnTo>
                    <a:pt x="335" y="102"/>
                  </a:lnTo>
                  <a:lnTo>
                    <a:pt x="318" y="102"/>
                  </a:lnTo>
                  <a:lnTo>
                    <a:pt x="295" y="102"/>
                  </a:lnTo>
                  <a:lnTo>
                    <a:pt x="289" y="107"/>
                  </a:lnTo>
                  <a:lnTo>
                    <a:pt x="272" y="107"/>
                  </a:lnTo>
                  <a:lnTo>
                    <a:pt x="267" y="107"/>
                  </a:lnTo>
                  <a:lnTo>
                    <a:pt x="261" y="107"/>
                  </a:lnTo>
                  <a:lnTo>
                    <a:pt x="250" y="107"/>
                  </a:lnTo>
                  <a:lnTo>
                    <a:pt x="244" y="107"/>
                  </a:lnTo>
                  <a:lnTo>
                    <a:pt x="244" y="113"/>
                  </a:lnTo>
                  <a:lnTo>
                    <a:pt x="238" y="113"/>
                  </a:lnTo>
                  <a:lnTo>
                    <a:pt x="233" y="113"/>
                  </a:lnTo>
                  <a:lnTo>
                    <a:pt x="210" y="113"/>
                  </a:lnTo>
                  <a:lnTo>
                    <a:pt x="187" y="113"/>
                  </a:lnTo>
                  <a:lnTo>
                    <a:pt x="176" y="113"/>
                  </a:lnTo>
                  <a:lnTo>
                    <a:pt x="165" y="113"/>
                  </a:lnTo>
                  <a:lnTo>
                    <a:pt x="153" y="113"/>
                  </a:lnTo>
                  <a:lnTo>
                    <a:pt x="148" y="113"/>
                  </a:lnTo>
                  <a:lnTo>
                    <a:pt x="142" y="113"/>
                  </a:lnTo>
                  <a:lnTo>
                    <a:pt x="125" y="113"/>
                  </a:lnTo>
                  <a:lnTo>
                    <a:pt x="114" y="113"/>
                  </a:lnTo>
                  <a:lnTo>
                    <a:pt x="102" y="113"/>
                  </a:lnTo>
                  <a:lnTo>
                    <a:pt x="97" y="113"/>
                  </a:lnTo>
                  <a:lnTo>
                    <a:pt x="68" y="113"/>
                  </a:lnTo>
                  <a:lnTo>
                    <a:pt x="57" y="113"/>
                  </a:lnTo>
                  <a:lnTo>
                    <a:pt x="51" y="113"/>
                  </a:lnTo>
                  <a:lnTo>
                    <a:pt x="29" y="119"/>
                  </a:lnTo>
                  <a:lnTo>
                    <a:pt x="6" y="119"/>
                  </a:lnTo>
                  <a:lnTo>
                    <a:pt x="0" y="119"/>
                  </a:lnTo>
                  <a:lnTo>
                    <a:pt x="0" y="107"/>
                  </a:lnTo>
                  <a:lnTo>
                    <a:pt x="0" y="102"/>
                  </a:lnTo>
                  <a:lnTo>
                    <a:pt x="0" y="90"/>
                  </a:lnTo>
                  <a:lnTo>
                    <a:pt x="6" y="85"/>
                  </a:lnTo>
                  <a:lnTo>
                    <a:pt x="6" y="79"/>
                  </a:lnTo>
                  <a:lnTo>
                    <a:pt x="6" y="73"/>
                  </a:lnTo>
                  <a:lnTo>
                    <a:pt x="17" y="73"/>
                  </a:lnTo>
                  <a:lnTo>
                    <a:pt x="23" y="73"/>
                  </a:lnTo>
                  <a:lnTo>
                    <a:pt x="29" y="79"/>
                  </a:lnTo>
                  <a:lnTo>
                    <a:pt x="34" y="73"/>
                  </a:lnTo>
                  <a:lnTo>
                    <a:pt x="40" y="73"/>
                  </a:lnTo>
                  <a:lnTo>
                    <a:pt x="46" y="73"/>
                  </a:lnTo>
                  <a:lnTo>
                    <a:pt x="46" y="68"/>
                  </a:lnTo>
                  <a:lnTo>
                    <a:pt x="51" y="62"/>
                  </a:lnTo>
                  <a:lnTo>
                    <a:pt x="57" y="56"/>
                  </a:lnTo>
                  <a:lnTo>
                    <a:pt x="63" y="56"/>
                  </a:lnTo>
                  <a:lnTo>
                    <a:pt x="68" y="56"/>
                  </a:lnTo>
                  <a:lnTo>
                    <a:pt x="74" y="62"/>
                  </a:lnTo>
                  <a:lnTo>
                    <a:pt x="80" y="62"/>
                  </a:lnTo>
                  <a:lnTo>
                    <a:pt x="85" y="62"/>
                  </a:lnTo>
                  <a:lnTo>
                    <a:pt x="91" y="62"/>
                  </a:lnTo>
                  <a:lnTo>
                    <a:pt x="97" y="62"/>
                  </a:lnTo>
                  <a:lnTo>
                    <a:pt x="102" y="62"/>
                  </a:lnTo>
                  <a:lnTo>
                    <a:pt x="108" y="62"/>
                  </a:lnTo>
                  <a:lnTo>
                    <a:pt x="114" y="62"/>
                  </a:lnTo>
                  <a:lnTo>
                    <a:pt x="119" y="62"/>
                  </a:lnTo>
                  <a:lnTo>
                    <a:pt x="125" y="62"/>
                  </a:lnTo>
                  <a:lnTo>
                    <a:pt x="131" y="62"/>
                  </a:lnTo>
                  <a:lnTo>
                    <a:pt x="136" y="62"/>
                  </a:lnTo>
                  <a:lnTo>
                    <a:pt x="142" y="62"/>
                  </a:lnTo>
                  <a:lnTo>
                    <a:pt x="148" y="62"/>
                  </a:lnTo>
                  <a:lnTo>
                    <a:pt x="153" y="62"/>
                  </a:lnTo>
                  <a:lnTo>
                    <a:pt x="153" y="56"/>
                  </a:lnTo>
                  <a:lnTo>
                    <a:pt x="159" y="51"/>
                  </a:lnTo>
                  <a:lnTo>
                    <a:pt x="165" y="51"/>
                  </a:lnTo>
                  <a:lnTo>
                    <a:pt x="170" y="39"/>
                  </a:lnTo>
                  <a:lnTo>
                    <a:pt x="170" y="34"/>
                  </a:lnTo>
                  <a:lnTo>
                    <a:pt x="170" y="28"/>
                  </a:lnTo>
                  <a:lnTo>
                    <a:pt x="176" y="28"/>
                  </a:lnTo>
                  <a:lnTo>
                    <a:pt x="176" y="22"/>
                  </a:lnTo>
                  <a:lnTo>
                    <a:pt x="182" y="17"/>
                  </a:lnTo>
                  <a:lnTo>
                    <a:pt x="182" y="11"/>
                  </a:lnTo>
                  <a:lnTo>
                    <a:pt x="182" y="5"/>
                  </a:lnTo>
                  <a:lnTo>
                    <a:pt x="187" y="5"/>
                  </a:lnTo>
                  <a:lnTo>
                    <a:pt x="187" y="0"/>
                  </a:lnTo>
                  <a:lnTo>
                    <a:pt x="199" y="0"/>
                  </a:lnTo>
                  <a:lnTo>
                    <a:pt x="210" y="0"/>
                  </a:lnTo>
                  <a:lnTo>
                    <a:pt x="216" y="0"/>
                  </a:lnTo>
                  <a:lnTo>
                    <a:pt x="216" y="5"/>
                  </a:lnTo>
                  <a:lnTo>
                    <a:pt x="221" y="11"/>
                  </a:lnTo>
                  <a:lnTo>
                    <a:pt x="227" y="17"/>
                  </a:lnTo>
                  <a:lnTo>
                    <a:pt x="233" y="17"/>
                  </a:lnTo>
                  <a:lnTo>
                    <a:pt x="238" y="17"/>
                  </a:lnTo>
                  <a:lnTo>
                    <a:pt x="244" y="17"/>
                  </a:lnTo>
                  <a:lnTo>
                    <a:pt x="250" y="17"/>
                  </a:lnTo>
                  <a:lnTo>
                    <a:pt x="250" y="11"/>
                  </a:lnTo>
                  <a:lnTo>
                    <a:pt x="250" y="5"/>
                  </a:lnTo>
                  <a:lnTo>
                    <a:pt x="255" y="5"/>
                  </a:lnTo>
                  <a:lnTo>
                    <a:pt x="352" y="5"/>
                  </a:lnTo>
                  <a:lnTo>
                    <a:pt x="357" y="5"/>
                  </a:lnTo>
                  <a:lnTo>
                    <a:pt x="369" y="5"/>
                  </a:lnTo>
                  <a:lnTo>
                    <a:pt x="437" y="5"/>
                  </a:lnTo>
                  <a:lnTo>
                    <a:pt x="476" y="5"/>
                  </a:lnTo>
                  <a:lnTo>
                    <a:pt x="499" y="5"/>
                  </a:lnTo>
                  <a:lnTo>
                    <a:pt x="505" y="5"/>
                  </a:lnTo>
                  <a:lnTo>
                    <a:pt x="505" y="11"/>
                  </a:lnTo>
                  <a:lnTo>
                    <a:pt x="499" y="11"/>
                  </a:lnTo>
                  <a:lnTo>
                    <a:pt x="499" y="17"/>
                  </a:lnTo>
                  <a:lnTo>
                    <a:pt x="493" y="17"/>
                  </a:lnTo>
                  <a:lnTo>
                    <a:pt x="482" y="22"/>
                  </a:lnTo>
                  <a:lnTo>
                    <a:pt x="482" y="28"/>
                  </a:lnTo>
                  <a:lnTo>
                    <a:pt x="476" y="28"/>
                  </a:lnTo>
                  <a:lnTo>
                    <a:pt x="476" y="34"/>
                  </a:lnTo>
                  <a:lnTo>
                    <a:pt x="482" y="45"/>
                  </a:lnTo>
                  <a:lnTo>
                    <a:pt x="482" y="51"/>
                  </a:lnTo>
                  <a:lnTo>
                    <a:pt x="488" y="51"/>
                  </a:lnTo>
                  <a:lnTo>
                    <a:pt x="493" y="51"/>
                  </a:lnTo>
                  <a:lnTo>
                    <a:pt x="499" y="45"/>
                  </a:lnTo>
                  <a:lnTo>
                    <a:pt x="505" y="45"/>
                  </a:lnTo>
                  <a:lnTo>
                    <a:pt x="510" y="45"/>
                  </a:lnTo>
                  <a:lnTo>
                    <a:pt x="516" y="45"/>
                  </a:lnTo>
                  <a:lnTo>
                    <a:pt x="522" y="39"/>
                  </a:lnTo>
                  <a:lnTo>
                    <a:pt x="527" y="39"/>
                  </a:lnTo>
                  <a:lnTo>
                    <a:pt x="527" y="45"/>
                  </a:lnTo>
                  <a:lnTo>
                    <a:pt x="533" y="45"/>
                  </a:lnTo>
                  <a:lnTo>
                    <a:pt x="533" y="51"/>
                  </a:lnTo>
                  <a:lnTo>
                    <a:pt x="527" y="56"/>
                  </a:lnTo>
                  <a:lnTo>
                    <a:pt x="527" y="62"/>
                  </a:lnTo>
                  <a:lnTo>
                    <a:pt x="522" y="62"/>
                  </a:lnTo>
                  <a:lnTo>
                    <a:pt x="516" y="62"/>
                  </a:lnTo>
                  <a:lnTo>
                    <a:pt x="510" y="62"/>
                  </a:lnTo>
                  <a:lnTo>
                    <a:pt x="505" y="68"/>
                  </a:lnTo>
                  <a:lnTo>
                    <a:pt x="505" y="73"/>
                  </a:lnTo>
                  <a:lnTo>
                    <a:pt x="510" y="79"/>
                  </a:lnTo>
                  <a:lnTo>
                    <a:pt x="522" y="79"/>
                  </a:lnTo>
                  <a:lnTo>
                    <a:pt x="527" y="85"/>
                  </a:lnTo>
                  <a:lnTo>
                    <a:pt x="533" y="90"/>
                  </a:lnTo>
                  <a:lnTo>
                    <a:pt x="539" y="90"/>
                  </a:lnTo>
                  <a:lnTo>
                    <a:pt x="550" y="90"/>
                  </a:lnTo>
                  <a:lnTo>
                    <a:pt x="561" y="90"/>
                  </a:lnTo>
                  <a:lnTo>
                    <a:pt x="567" y="90"/>
                  </a:lnTo>
                  <a:lnTo>
                    <a:pt x="567" y="102"/>
                  </a:lnTo>
                  <a:lnTo>
                    <a:pt x="567" y="11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50" name="Freeform 29"/>
            <p:cNvSpPr>
              <a:spLocks/>
            </p:cNvSpPr>
            <p:nvPr/>
          </p:nvSpPr>
          <p:spPr bwMode="gray">
            <a:xfrm>
              <a:off x="2418134" y="4282033"/>
              <a:ext cx="437568" cy="666337"/>
            </a:xfrm>
            <a:custGeom>
              <a:avLst/>
              <a:gdLst>
                <a:gd name="T0" fmla="*/ 2147483647 w 312"/>
                <a:gd name="T1" fmla="*/ 2147483647 h 499"/>
                <a:gd name="T2" fmla="*/ 2147483647 w 312"/>
                <a:gd name="T3" fmla="*/ 2147483647 h 499"/>
                <a:gd name="T4" fmla="*/ 2147483647 w 312"/>
                <a:gd name="T5" fmla="*/ 2147483647 h 499"/>
                <a:gd name="T6" fmla="*/ 2147483647 w 312"/>
                <a:gd name="T7" fmla="*/ 2147483647 h 499"/>
                <a:gd name="T8" fmla="*/ 2147483647 w 312"/>
                <a:gd name="T9" fmla="*/ 2147483647 h 499"/>
                <a:gd name="T10" fmla="*/ 2147483647 w 312"/>
                <a:gd name="T11" fmla="*/ 2147483647 h 499"/>
                <a:gd name="T12" fmla="*/ 2147483647 w 312"/>
                <a:gd name="T13" fmla="*/ 2147483647 h 499"/>
                <a:gd name="T14" fmla="*/ 2147483647 w 312"/>
                <a:gd name="T15" fmla="*/ 2147483647 h 499"/>
                <a:gd name="T16" fmla="*/ 2147483647 w 312"/>
                <a:gd name="T17" fmla="*/ 2147483647 h 499"/>
                <a:gd name="T18" fmla="*/ 2147483647 w 312"/>
                <a:gd name="T19" fmla="*/ 2147483647 h 499"/>
                <a:gd name="T20" fmla="*/ 2147483647 w 312"/>
                <a:gd name="T21" fmla="*/ 2147483647 h 499"/>
                <a:gd name="T22" fmla="*/ 2147483647 w 312"/>
                <a:gd name="T23" fmla="*/ 2147483647 h 499"/>
                <a:gd name="T24" fmla="*/ 2147483647 w 312"/>
                <a:gd name="T25" fmla="*/ 2147483647 h 499"/>
                <a:gd name="T26" fmla="*/ 2147483647 w 312"/>
                <a:gd name="T27" fmla="*/ 2147483647 h 499"/>
                <a:gd name="T28" fmla="*/ 2147483647 w 312"/>
                <a:gd name="T29" fmla="*/ 2147483647 h 499"/>
                <a:gd name="T30" fmla="*/ 2147483647 w 312"/>
                <a:gd name="T31" fmla="*/ 2147483647 h 499"/>
                <a:gd name="T32" fmla="*/ 2147483647 w 312"/>
                <a:gd name="T33" fmla="*/ 2147483647 h 499"/>
                <a:gd name="T34" fmla="*/ 2147483647 w 312"/>
                <a:gd name="T35" fmla="*/ 2147483647 h 499"/>
                <a:gd name="T36" fmla="*/ 2147483647 w 312"/>
                <a:gd name="T37" fmla="*/ 2147483647 h 499"/>
                <a:gd name="T38" fmla="*/ 2147483647 w 312"/>
                <a:gd name="T39" fmla="*/ 2147483647 h 499"/>
                <a:gd name="T40" fmla="*/ 2147483647 w 312"/>
                <a:gd name="T41" fmla="*/ 2147483647 h 499"/>
                <a:gd name="T42" fmla="*/ 2147483647 w 312"/>
                <a:gd name="T43" fmla="*/ 2147483647 h 499"/>
                <a:gd name="T44" fmla="*/ 2147483647 w 312"/>
                <a:gd name="T45" fmla="*/ 2147483647 h 499"/>
                <a:gd name="T46" fmla="*/ 2147483647 w 312"/>
                <a:gd name="T47" fmla="*/ 2147483647 h 499"/>
                <a:gd name="T48" fmla="*/ 2147483647 w 312"/>
                <a:gd name="T49" fmla="*/ 2147483647 h 499"/>
                <a:gd name="T50" fmla="*/ 2147483647 w 312"/>
                <a:gd name="T51" fmla="*/ 2147483647 h 499"/>
                <a:gd name="T52" fmla="*/ 2147483647 w 312"/>
                <a:gd name="T53" fmla="*/ 2147483647 h 499"/>
                <a:gd name="T54" fmla="*/ 2147483647 w 312"/>
                <a:gd name="T55" fmla="*/ 2147483647 h 499"/>
                <a:gd name="T56" fmla="*/ 2147483647 w 312"/>
                <a:gd name="T57" fmla="*/ 0 h 499"/>
                <a:gd name="T58" fmla="*/ 2147483647 w 312"/>
                <a:gd name="T59" fmla="*/ 2147483647 h 499"/>
                <a:gd name="T60" fmla="*/ 2147483647 w 312"/>
                <a:gd name="T61" fmla="*/ 2147483647 h 499"/>
                <a:gd name="T62" fmla="*/ 2147483647 w 312"/>
                <a:gd name="T63" fmla="*/ 2147483647 h 499"/>
                <a:gd name="T64" fmla="*/ 2147483647 w 312"/>
                <a:gd name="T65" fmla="*/ 2147483647 h 499"/>
                <a:gd name="T66" fmla="*/ 2147483647 w 312"/>
                <a:gd name="T67" fmla="*/ 2147483647 h 499"/>
                <a:gd name="T68" fmla="*/ 2147483647 w 312"/>
                <a:gd name="T69" fmla="*/ 2147483647 h 499"/>
                <a:gd name="T70" fmla="*/ 2147483647 w 312"/>
                <a:gd name="T71" fmla="*/ 2147483647 h 499"/>
                <a:gd name="T72" fmla="*/ 2147483647 w 312"/>
                <a:gd name="T73" fmla="*/ 2147483647 h 499"/>
                <a:gd name="T74" fmla="*/ 2147483647 w 312"/>
                <a:gd name="T75" fmla="*/ 2147483647 h 499"/>
                <a:gd name="T76" fmla="*/ 2147483647 w 312"/>
                <a:gd name="T77" fmla="*/ 2147483647 h 499"/>
                <a:gd name="T78" fmla="*/ 2147483647 w 312"/>
                <a:gd name="T79" fmla="*/ 2147483647 h 499"/>
                <a:gd name="T80" fmla="*/ 2147483647 w 312"/>
                <a:gd name="T81" fmla="*/ 2147483647 h 499"/>
                <a:gd name="T82" fmla="*/ 2147483647 w 312"/>
                <a:gd name="T83" fmla="*/ 2147483647 h 499"/>
                <a:gd name="T84" fmla="*/ 2147483647 w 312"/>
                <a:gd name="T85" fmla="*/ 2147483647 h 499"/>
                <a:gd name="T86" fmla="*/ 2147483647 w 312"/>
                <a:gd name="T87" fmla="*/ 2147483647 h 499"/>
                <a:gd name="T88" fmla="*/ 2147483647 w 312"/>
                <a:gd name="T89" fmla="*/ 2147483647 h 499"/>
                <a:gd name="T90" fmla="*/ 2147483647 w 312"/>
                <a:gd name="T91" fmla="*/ 2147483647 h 499"/>
                <a:gd name="T92" fmla="*/ 2147483647 w 312"/>
                <a:gd name="T93" fmla="*/ 2147483647 h 499"/>
                <a:gd name="T94" fmla="*/ 2147483647 w 312"/>
                <a:gd name="T95" fmla="*/ 2147483647 h 499"/>
                <a:gd name="T96" fmla="*/ 2147483647 w 312"/>
                <a:gd name="T97" fmla="*/ 2147483647 h 499"/>
                <a:gd name="T98" fmla="*/ 2147483647 w 312"/>
                <a:gd name="T99" fmla="*/ 2147483647 h 499"/>
                <a:gd name="T100" fmla="*/ 2147483647 w 312"/>
                <a:gd name="T101" fmla="*/ 2147483647 h 499"/>
                <a:gd name="T102" fmla="*/ 2147483647 w 312"/>
                <a:gd name="T103" fmla="*/ 2147483647 h 499"/>
                <a:gd name="T104" fmla="*/ 2147483647 w 312"/>
                <a:gd name="T105" fmla="*/ 2147483647 h 499"/>
                <a:gd name="T106" fmla="*/ 2147483647 w 312"/>
                <a:gd name="T107" fmla="*/ 2147483647 h 49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12"/>
                <a:gd name="T163" fmla="*/ 0 h 499"/>
                <a:gd name="T164" fmla="*/ 312 w 312"/>
                <a:gd name="T165" fmla="*/ 499 h 49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12" h="499">
                  <a:moveTo>
                    <a:pt x="108" y="499"/>
                  </a:moveTo>
                  <a:lnTo>
                    <a:pt x="102" y="499"/>
                  </a:lnTo>
                  <a:lnTo>
                    <a:pt x="96" y="499"/>
                  </a:lnTo>
                  <a:lnTo>
                    <a:pt x="91" y="499"/>
                  </a:lnTo>
                  <a:lnTo>
                    <a:pt x="85" y="499"/>
                  </a:lnTo>
                  <a:lnTo>
                    <a:pt x="73" y="499"/>
                  </a:lnTo>
                  <a:lnTo>
                    <a:pt x="62" y="493"/>
                  </a:lnTo>
                  <a:lnTo>
                    <a:pt x="56" y="499"/>
                  </a:lnTo>
                  <a:lnTo>
                    <a:pt x="51" y="499"/>
                  </a:lnTo>
                  <a:lnTo>
                    <a:pt x="45" y="499"/>
                  </a:lnTo>
                  <a:lnTo>
                    <a:pt x="39" y="499"/>
                  </a:lnTo>
                  <a:lnTo>
                    <a:pt x="34" y="499"/>
                  </a:lnTo>
                  <a:lnTo>
                    <a:pt x="28" y="499"/>
                  </a:lnTo>
                  <a:lnTo>
                    <a:pt x="22" y="499"/>
                  </a:lnTo>
                  <a:lnTo>
                    <a:pt x="17" y="499"/>
                  </a:lnTo>
                  <a:lnTo>
                    <a:pt x="11" y="493"/>
                  </a:lnTo>
                  <a:lnTo>
                    <a:pt x="5" y="493"/>
                  </a:lnTo>
                  <a:lnTo>
                    <a:pt x="5" y="488"/>
                  </a:lnTo>
                  <a:lnTo>
                    <a:pt x="0" y="482"/>
                  </a:lnTo>
                  <a:lnTo>
                    <a:pt x="5" y="476"/>
                  </a:lnTo>
                  <a:lnTo>
                    <a:pt x="5" y="471"/>
                  </a:lnTo>
                  <a:lnTo>
                    <a:pt x="5" y="465"/>
                  </a:lnTo>
                  <a:lnTo>
                    <a:pt x="5" y="459"/>
                  </a:lnTo>
                  <a:lnTo>
                    <a:pt x="11" y="454"/>
                  </a:lnTo>
                  <a:lnTo>
                    <a:pt x="17" y="454"/>
                  </a:lnTo>
                  <a:lnTo>
                    <a:pt x="28" y="454"/>
                  </a:lnTo>
                  <a:lnTo>
                    <a:pt x="28" y="448"/>
                  </a:lnTo>
                  <a:lnTo>
                    <a:pt x="34" y="448"/>
                  </a:lnTo>
                  <a:lnTo>
                    <a:pt x="34" y="442"/>
                  </a:lnTo>
                  <a:lnTo>
                    <a:pt x="34" y="437"/>
                  </a:lnTo>
                  <a:lnTo>
                    <a:pt x="39" y="437"/>
                  </a:lnTo>
                  <a:lnTo>
                    <a:pt x="39" y="431"/>
                  </a:lnTo>
                  <a:lnTo>
                    <a:pt x="39" y="425"/>
                  </a:lnTo>
                  <a:lnTo>
                    <a:pt x="39" y="420"/>
                  </a:lnTo>
                  <a:lnTo>
                    <a:pt x="39" y="397"/>
                  </a:lnTo>
                  <a:lnTo>
                    <a:pt x="39" y="386"/>
                  </a:lnTo>
                  <a:lnTo>
                    <a:pt x="34" y="380"/>
                  </a:lnTo>
                  <a:lnTo>
                    <a:pt x="34" y="374"/>
                  </a:lnTo>
                  <a:lnTo>
                    <a:pt x="34" y="368"/>
                  </a:lnTo>
                  <a:lnTo>
                    <a:pt x="34" y="357"/>
                  </a:lnTo>
                  <a:lnTo>
                    <a:pt x="39" y="357"/>
                  </a:lnTo>
                  <a:lnTo>
                    <a:pt x="39" y="346"/>
                  </a:lnTo>
                  <a:lnTo>
                    <a:pt x="45" y="340"/>
                  </a:lnTo>
                  <a:lnTo>
                    <a:pt x="45" y="334"/>
                  </a:lnTo>
                  <a:lnTo>
                    <a:pt x="51" y="329"/>
                  </a:lnTo>
                  <a:lnTo>
                    <a:pt x="56" y="323"/>
                  </a:lnTo>
                  <a:lnTo>
                    <a:pt x="56" y="317"/>
                  </a:lnTo>
                  <a:lnTo>
                    <a:pt x="56" y="312"/>
                  </a:lnTo>
                  <a:lnTo>
                    <a:pt x="62" y="306"/>
                  </a:lnTo>
                  <a:lnTo>
                    <a:pt x="62" y="295"/>
                  </a:lnTo>
                  <a:lnTo>
                    <a:pt x="68" y="289"/>
                  </a:lnTo>
                  <a:lnTo>
                    <a:pt x="73" y="289"/>
                  </a:lnTo>
                  <a:lnTo>
                    <a:pt x="73" y="283"/>
                  </a:lnTo>
                  <a:lnTo>
                    <a:pt x="79" y="278"/>
                  </a:lnTo>
                  <a:lnTo>
                    <a:pt x="79" y="272"/>
                  </a:lnTo>
                  <a:lnTo>
                    <a:pt x="85" y="272"/>
                  </a:lnTo>
                  <a:lnTo>
                    <a:pt x="85" y="266"/>
                  </a:lnTo>
                  <a:lnTo>
                    <a:pt x="85" y="261"/>
                  </a:lnTo>
                  <a:lnTo>
                    <a:pt x="91" y="255"/>
                  </a:lnTo>
                  <a:lnTo>
                    <a:pt x="91" y="249"/>
                  </a:lnTo>
                  <a:lnTo>
                    <a:pt x="96" y="244"/>
                  </a:lnTo>
                  <a:lnTo>
                    <a:pt x="102" y="232"/>
                  </a:lnTo>
                  <a:lnTo>
                    <a:pt x="102" y="227"/>
                  </a:lnTo>
                  <a:lnTo>
                    <a:pt x="102" y="221"/>
                  </a:lnTo>
                  <a:lnTo>
                    <a:pt x="96" y="221"/>
                  </a:lnTo>
                  <a:lnTo>
                    <a:pt x="96" y="215"/>
                  </a:lnTo>
                  <a:lnTo>
                    <a:pt x="91" y="210"/>
                  </a:lnTo>
                  <a:lnTo>
                    <a:pt x="91" y="204"/>
                  </a:lnTo>
                  <a:lnTo>
                    <a:pt x="85" y="204"/>
                  </a:lnTo>
                  <a:lnTo>
                    <a:pt x="85" y="198"/>
                  </a:lnTo>
                  <a:lnTo>
                    <a:pt x="85" y="193"/>
                  </a:lnTo>
                  <a:lnTo>
                    <a:pt x="91" y="198"/>
                  </a:lnTo>
                  <a:lnTo>
                    <a:pt x="91" y="193"/>
                  </a:lnTo>
                  <a:lnTo>
                    <a:pt x="91" y="187"/>
                  </a:lnTo>
                  <a:lnTo>
                    <a:pt x="91" y="181"/>
                  </a:lnTo>
                  <a:lnTo>
                    <a:pt x="91" y="176"/>
                  </a:lnTo>
                  <a:lnTo>
                    <a:pt x="91" y="164"/>
                  </a:lnTo>
                  <a:lnTo>
                    <a:pt x="91" y="153"/>
                  </a:lnTo>
                  <a:lnTo>
                    <a:pt x="91" y="147"/>
                  </a:lnTo>
                  <a:lnTo>
                    <a:pt x="91" y="142"/>
                  </a:lnTo>
                  <a:lnTo>
                    <a:pt x="91" y="136"/>
                  </a:lnTo>
                  <a:lnTo>
                    <a:pt x="91" y="130"/>
                  </a:lnTo>
                  <a:lnTo>
                    <a:pt x="85" y="130"/>
                  </a:lnTo>
                  <a:lnTo>
                    <a:pt x="85" y="125"/>
                  </a:lnTo>
                  <a:lnTo>
                    <a:pt x="79" y="125"/>
                  </a:lnTo>
                  <a:lnTo>
                    <a:pt x="73" y="119"/>
                  </a:lnTo>
                  <a:lnTo>
                    <a:pt x="62" y="119"/>
                  </a:lnTo>
                  <a:lnTo>
                    <a:pt x="56" y="119"/>
                  </a:lnTo>
                  <a:lnTo>
                    <a:pt x="51" y="113"/>
                  </a:lnTo>
                  <a:lnTo>
                    <a:pt x="45" y="108"/>
                  </a:lnTo>
                  <a:lnTo>
                    <a:pt x="39" y="108"/>
                  </a:lnTo>
                  <a:lnTo>
                    <a:pt x="39" y="102"/>
                  </a:lnTo>
                  <a:lnTo>
                    <a:pt x="45" y="91"/>
                  </a:lnTo>
                  <a:lnTo>
                    <a:pt x="45" y="85"/>
                  </a:lnTo>
                  <a:lnTo>
                    <a:pt x="56" y="79"/>
                  </a:lnTo>
                  <a:lnTo>
                    <a:pt x="62" y="79"/>
                  </a:lnTo>
                  <a:lnTo>
                    <a:pt x="68" y="79"/>
                  </a:lnTo>
                  <a:lnTo>
                    <a:pt x="73" y="79"/>
                  </a:lnTo>
                  <a:lnTo>
                    <a:pt x="73" y="74"/>
                  </a:lnTo>
                  <a:lnTo>
                    <a:pt x="79" y="74"/>
                  </a:lnTo>
                  <a:lnTo>
                    <a:pt x="85" y="74"/>
                  </a:lnTo>
                  <a:lnTo>
                    <a:pt x="85" y="79"/>
                  </a:lnTo>
                  <a:lnTo>
                    <a:pt x="91" y="85"/>
                  </a:lnTo>
                  <a:lnTo>
                    <a:pt x="91" y="91"/>
                  </a:lnTo>
                  <a:lnTo>
                    <a:pt x="96" y="91"/>
                  </a:lnTo>
                  <a:lnTo>
                    <a:pt x="102" y="85"/>
                  </a:lnTo>
                  <a:lnTo>
                    <a:pt x="108" y="85"/>
                  </a:lnTo>
                  <a:lnTo>
                    <a:pt x="113" y="79"/>
                  </a:lnTo>
                  <a:lnTo>
                    <a:pt x="113" y="85"/>
                  </a:lnTo>
                  <a:lnTo>
                    <a:pt x="125" y="85"/>
                  </a:lnTo>
                  <a:lnTo>
                    <a:pt x="130" y="85"/>
                  </a:lnTo>
                  <a:lnTo>
                    <a:pt x="130" y="91"/>
                  </a:lnTo>
                  <a:lnTo>
                    <a:pt x="136" y="91"/>
                  </a:lnTo>
                  <a:lnTo>
                    <a:pt x="142" y="91"/>
                  </a:lnTo>
                  <a:lnTo>
                    <a:pt x="142" y="96"/>
                  </a:lnTo>
                  <a:lnTo>
                    <a:pt x="147" y="96"/>
                  </a:lnTo>
                  <a:lnTo>
                    <a:pt x="153" y="96"/>
                  </a:lnTo>
                  <a:lnTo>
                    <a:pt x="159" y="96"/>
                  </a:lnTo>
                  <a:lnTo>
                    <a:pt x="170" y="102"/>
                  </a:lnTo>
                  <a:lnTo>
                    <a:pt x="181" y="108"/>
                  </a:lnTo>
                  <a:lnTo>
                    <a:pt x="187" y="113"/>
                  </a:lnTo>
                  <a:lnTo>
                    <a:pt x="187" y="119"/>
                  </a:lnTo>
                  <a:lnTo>
                    <a:pt x="193" y="119"/>
                  </a:lnTo>
                  <a:lnTo>
                    <a:pt x="198" y="119"/>
                  </a:lnTo>
                  <a:lnTo>
                    <a:pt x="198" y="113"/>
                  </a:lnTo>
                  <a:lnTo>
                    <a:pt x="198" y="108"/>
                  </a:lnTo>
                  <a:lnTo>
                    <a:pt x="198" y="102"/>
                  </a:lnTo>
                  <a:lnTo>
                    <a:pt x="198" y="96"/>
                  </a:lnTo>
                  <a:lnTo>
                    <a:pt x="198" y="91"/>
                  </a:lnTo>
                  <a:lnTo>
                    <a:pt x="193" y="91"/>
                  </a:lnTo>
                  <a:lnTo>
                    <a:pt x="193" y="85"/>
                  </a:lnTo>
                  <a:lnTo>
                    <a:pt x="193" y="79"/>
                  </a:lnTo>
                  <a:lnTo>
                    <a:pt x="198" y="79"/>
                  </a:lnTo>
                  <a:lnTo>
                    <a:pt x="198" y="74"/>
                  </a:lnTo>
                  <a:lnTo>
                    <a:pt x="210" y="68"/>
                  </a:lnTo>
                  <a:lnTo>
                    <a:pt x="210" y="62"/>
                  </a:lnTo>
                  <a:lnTo>
                    <a:pt x="215" y="57"/>
                  </a:lnTo>
                  <a:lnTo>
                    <a:pt x="215" y="51"/>
                  </a:lnTo>
                  <a:lnTo>
                    <a:pt x="215" y="40"/>
                  </a:lnTo>
                  <a:lnTo>
                    <a:pt x="215" y="34"/>
                  </a:lnTo>
                  <a:lnTo>
                    <a:pt x="210" y="17"/>
                  </a:lnTo>
                  <a:lnTo>
                    <a:pt x="210" y="11"/>
                  </a:lnTo>
                  <a:lnTo>
                    <a:pt x="210" y="6"/>
                  </a:lnTo>
                  <a:lnTo>
                    <a:pt x="215" y="6"/>
                  </a:lnTo>
                  <a:lnTo>
                    <a:pt x="215" y="0"/>
                  </a:lnTo>
                  <a:lnTo>
                    <a:pt x="221" y="0"/>
                  </a:lnTo>
                  <a:lnTo>
                    <a:pt x="227" y="0"/>
                  </a:lnTo>
                  <a:lnTo>
                    <a:pt x="232" y="6"/>
                  </a:lnTo>
                  <a:lnTo>
                    <a:pt x="238" y="6"/>
                  </a:lnTo>
                  <a:lnTo>
                    <a:pt x="244" y="11"/>
                  </a:lnTo>
                  <a:lnTo>
                    <a:pt x="249" y="11"/>
                  </a:lnTo>
                  <a:lnTo>
                    <a:pt x="249" y="17"/>
                  </a:lnTo>
                  <a:lnTo>
                    <a:pt x="255" y="17"/>
                  </a:lnTo>
                  <a:lnTo>
                    <a:pt x="255" y="23"/>
                  </a:lnTo>
                  <a:lnTo>
                    <a:pt x="266" y="23"/>
                  </a:lnTo>
                  <a:lnTo>
                    <a:pt x="272" y="23"/>
                  </a:lnTo>
                  <a:lnTo>
                    <a:pt x="272" y="28"/>
                  </a:lnTo>
                  <a:lnTo>
                    <a:pt x="272" y="34"/>
                  </a:lnTo>
                  <a:lnTo>
                    <a:pt x="272" y="40"/>
                  </a:lnTo>
                  <a:lnTo>
                    <a:pt x="278" y="40"/>
                  </a:lnTo>
                  <a:lnTo>
                    <a:pt x="278" y="45"/>
                  </a:lnTo>
                  <a:lnTo>
                    <a:pt x="278" y="51"/>
                  </a:lnTo>
                  <a:lnTo>
                    <a:pt x="283" y="51"/>
                  </a:lnTo>
                  <a:lnTo>
                    <a:pt x="283" y="57"/>
                  </a:lnTo>
                  <a:lnTo>
                    <a:pt x="289" y="57"/>
                  </a:lnTo>
                  <a:lnTo>
                    <a:pt x="289" y="62"/>
                  </a:lnTo>
                  <a:lnTo>
                    <a:pt x="295" y="62"/>
                  </a:lnTo>
                  <a:lnTo>
                    <a:pt x="295" y="68"/>
                  </a:lnTo>
                  <a:lnTo>
                    <a:pt x="300" y="68"/>
                  </a:lnTo>
                  <a:lnTo>
                    <a:pt x="300" y="74"/>
                  </a:lnTo>
                  <a:lnTo>
                    <a:pt x="306" y="79"/>
                  </a:lnTo>
                  <a:lnTo>
                    <a:pt x="312" y="79"/>
                  </a:lnTo>
                  <a:lnTo>
                    <a:pt x="295" y="79"/>
                  </a:lnTo>
                  <a:lnTo>
                    <a:pt x="283" y="85"/>
                  </a:lnTo>
                  <a:lnTo>
                    <a:pt x="283" y="91"/>
                  </a:lnTo>
                  <a:lnTo>
                    <a:pt x="283" y="96"/>
                  </a:lnTo>
                  <a:lnTo>
                    <a:pt x="289" y="102"/>
                  </a:lnTo>
                  <a:lnTo>
                    <a:pt x="289" y="108"/>
                  </a:lnTo>
                  <a:lnTo>
                    <a:pt x="283" y="119"/>
                  </a:lnTo>
                  <a:lnTo>
                    <a:pt x="283" y="136"/>
                  </a:lnTo>
                  <a:lnTo>
                    <a:pt x="272" y="142"/>
                  </a:lnTo>
                  <a:lnTo>
                    <a:pt x="266" y="147"/>
                  </a:lnTo>
                  <a:lnTo>
                    <a:pt x="272" y="153"/>
                  </a:lnTo>
                  <a:lnTo>
                    <a:pt x="272" y="164"/>
                  </a:lnTo>
                  <a:lnTo>
                    <a:pt x="266" y="170"/>
                  </a:lnTo>
                  <a:lnTo>
                    <a:pt x="266" y="176"/>
                  </a:lnTo>
                  <a:lnTo>
                    <a:pt x="261" y="176"/>
                  </a:lnTo>
                  <a:lnTo>
                    <a:pt x="255" y="187"/>
                  </a:lnTo>
                  <a:lnTo>
                    <a:pt x="249" y="193"/>
                  </a:lnTo>
                  <a:lnTo>
                    <a:pt x="255" y="198"/>
                  </a:lnTo>
                  <a:lnTo>
                    <a:pt x="255" y="204"/>
                  </a:lnTo>
                  <a:lnTo>
                    <a:pt x="255" y="215"/>
                  </a:lnTo>
                  <a:lnTo>
                    <a:pt x="255" y="227"/>
                  </a:lnTo>
                  <a:lnTo>
                    <a:pt x="261" y="244"/>
                  </a:lnTo>
                  <a:lnTo>
                    <a:pt x="261" y="249"/>
                  </a:lnTo>
                  <a:lnTo>
                    <a:pt x="261" y="255"/>
                  </a:lnTo>
                  <a:lnTo>
                    <a:pt x="261" y="261"/>
                  </a:lnTo>
                  <a:lnTo>
                    <a:pt x="266" y="272"/>
                  </a:lnTo>
                  <a:lnTo>
                    <a:pt x="272" y="283"/>
                  </a:lnTo>
                  <a:lnTo>
                    <a:pt x="272" y="289"/>
                  </a:lnTo>
                  <a:lnTo>
                    <a:pt x="272" y="295"/>
                  </a:lnTo>
                  <a:lnTo>
                    <a:pt x="278" y="300"/>
                  </a:lnTo>
                  <a:lnTo>
                    <a:pt x="272" y="312"/>
                  </a:lnTo>
                  <a:lnTo>
                    <a:pt x="266" y="312"/>
                  </a:lnTo>
                  <a:lnTo>
                    <a:pt x="255" y="306"/>
                  </a:lnTo>
                  <a:lnTo>
                    <a:pt x="255" y="300"/>
                  </a:lnTo>
                  <a:lnTo>
                    <a:pt x="249" y="306"/>
                  </a:lnTo>
                  <a:lnTo>
                    <a:pt x="244" y="312"/>
                  </a:lnTo>
                  <a:lnTo>
                    <a:pt x="238" y="306"/>
                  </a:lnTo>
                  <a:lnTo>
                    <a:pt x="232" y="300"/>
                  </a:lnTo>
                  <a:lnTo>
                    <a:pt x="221" y="289"/>
                  </a:lnTo>
                  <a:lnTo>
                    <a:pt x="215" y="283"/>
                  </a:lnTo>
                  <a:lnTo>
                    <a:pt x="215" y="272"/>
                  </a:lnTo>
                  <a:lnTo>
                    <a:pt x="210" y="261"/>
                  </a:lnTo>
                  <a:lnTo>
                    <a:pt x="198" y="255"/>
                  </a:lnTo>
                  <a:lnTo>
                    <a:pt x="193" y="255"/>
                  </a:lnTo>
                  <a:lnTo>
                    <a:pt x="187" y="261"/>
                  </a:lnTo>
                  <a:lnTo>
                    <a:pt x="187" y="266"/>
                  </a:lnTo>
                  <a:lnTo>
                    <a:pt x="187" y="278"/>
                  </a:lnTo>
                  <a:lnTo>
                    <a:pt x="181" y="283"/>
                  </a:lnTo>
                  <a:lnTo>
                    <a:pt x="176" y="289"/>
                  </a:lnTo>
                  <a:lnTo>
                    <a:pt x="170" y="289"/>
                  </a:lnTo>
                  <a:lnTo>
                    <a:pt x="164" y="289"/>
                  </a:lnTo>
                  <a:lnTo>
                    <a:pt x="159" y="295"/>
                  </a:lnTo>
                  <a:lnTo>
                    <a:pt x="153" y="300"/>
                  </a:lnTo>
                  <a:lnTo>
                    <a:pt x="153" y="312"/>
                  </a:lnTo>
                  <a:lnTo>
                    <a:pt x="164" y="312"/>
                  </a:lnTo>
                  <a:lnTo>
                    <a:pt x="170" y="317"/>
                  </a:lnTo>
                  <a:lnTo>
                    <a:pt x="170" y="323"/>
                  </a:lnTo>
                  <a:lnTo>
                    <a:pt x="164" y="329"/>
                  </a:lnTo>
                  <a:lnTo>
                    <a:pt x="153" y="329"/>
                  </a:lnTo>
                  <a:lnTo>
                    <a:pt x="142" y="329"/>
                  </a:lnTo>
                  <a:lnTo>
                    <a:pt x="130" y="329"/>
                  </a:lnTo>
                  <a:lnTo>
                    <a:pt x="130" y="334"/>
                  </a:lnTo>
                  <a:lnTo>
                    <a:pt x="125" y="334"/>
                  </a:lnTo>
                  <a:lnTo>
                    <a:pt x="125" y="340"/>
                  </a:lnTo>
                  <a:lnTo>
                    <a:pt x="130" y="340"/>
                  </a:lnTo>
                  <a:lnTo>
                    <a:pt x="130" y="346"/>
                  </a:lnTo>
                  <a:lnTo>
                    <a:pt x="142" y="346"/>
                  </a:lnTo>
                  <a:lnTo>
                    <a:pt x="136" y="351"/>
                  </a:lnTo>
                  <a:lnTo>
                    <a:pt x="130" y="351"/>
                  </a:lnTo>
                  <a:lnTo>
                    <a:pt x="125" y="363"/>
                  </a:lnTo>
                  <a:lnTo>
                    <a:pt x="125" y="368"/>
                  </a:lnTo>
                  <a:lnTo>
                    <a:pt x="125" y="374"/>
                  </a:lnTo>
                  <a:lnTo>
                    <a:pt x="125" y="386"/>
                  </a:lnTo>
                  <a:lnTo>
                    <a:pt x="125" y="391"/>
                  </a:lnTo>
                  <a:lnTo>
                    <a:pt x="130" y="397"/>
                  </a:lnTo>
                  <a:lnTo>
                    <a:pt x="125" y="408"/>
                  </a:lnTo>
                  <a:lnTo>
                    <a:pt x="125" y="420"/>
                  </a:lnTo>
                  <a:lnTo>
                    <a:pt x="119" y="425"/>
                  </a:lnTo>
                  <a:lnTo>
                    <a:pt x="113" y="431"/>
                  </a:lnTo>
                  <a:lnTo>
                    <a:pt x="113" y="437"/>
                  </a:lnTo>
                  <a:lnTo>
                    <a:pt x="108" y="437"/>
                  </a:lnTo>
                  <a:lnTo>
                    <a:pt x="102" y="442"/>
                  </a:lnTo>
                  <a:lnTo>
                    <a:pt x="102" y="448"/>
                  </a:lnTo>
                  <a:lnTo>
                    <a:pt x="108" y="448"/>
                  </a:lnTo>
                  <a:lnTo>
                    <a:pt x="119" y="448"/>
                  </a:lnTo>
                  <a:lnTo>
                    <a:pt x="125" y="442"/>
                  </a:lnTo>
                  <a:lnTo>
                    <a:pt x="125" y="448"/>
                  </a:lnTo>
                  <a:lnTo>
                    <a:pt x="125" y="454"/>
                  </a:lnTo>
                  <a:lnTo>
                    <a:pt x="119" y="454"/>
                  </a:lnTo>
                  <a:lnTo>
                    <a:pt x="113" y="465"/>
                  </a:lnTo>
                  <a:lnTo>
                    <a:pt x="108" y="465"/>
                  </a:lnTo>
                  <a:lnTo>
                    <a:pt x="108" y="471"/>
                  </a:lnTo>
                  <a:lnTo>
                    <a:pt x="102" y="471"/>
                  </a:lnTo>
                  <a:lnTo>
                    <a:pt x="113" y="476"/>
                  </a:lnTo>
                  <a:lnTo>
                    <a:pt x="113" y="482"/>
                  </a:lnTo>
                  <a:lnTo>
                    <a:pt x="119" y="482"/>
                  </a:lnTo>
                  <a:lnTo>
                    <a:pt x="119" y="488"/>
                  </a:lnTo>
                  <a:lnTo>
                    <a:pt x="113" y="493"/>
                  </a:lnTo>
                  <a:lnTo>
                    <a:pt x="113" y="499"/>
                  </a:lnTo>
                  <a:lnTo>
                    <a:pt x="108" y="49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51" name="Freeform 30"/>
            <p:cNvSpPr>
              <a:spLocks noEditPoints="1"/>
            </p:cNvSpPr>
            <p:nvPr/>
          </p:nvSpPr>
          <p:spPr bwMode="gray">
            <a:xfrm>
              <a:off x="2561753" y="4622860"/>
              <a:ext cx="444280" cy="499115"/>
            </a:xfrm>
            <a:custGeom>
              <a:avLst/>
              <a:gdLst>
                <a:gd name="T0" fmla="*/ 2147483647 w 317"/>
                <a:gd name="T1" fmla="*/ 2147483647 h 374"/>
                <a:gd name="T2" fmla="*/ 0 w 317"/>
                <a:gd name="T3" fmla="*/ 2147483647 h 374"/>
                <a:gd name="T4" fmla="*/ 2147483647 w 317"/>
                <a:gd name="T5" fmla="*/ 2147483647 h 374"/>
                <a:gd name="T6" fmla="*/ 2147483647 w 317"/>
                <a:gd name="T7" fmla="*/ 2147483647 h 374"/>
                <a:gd name="T8" fmla="*/ 2147483647 w 317"/>
                <a:gd name="T9" fmla="*/ 2147483647 h 374"/>
                <a:gd name="T10" fmla="*/ 2147483647 w 317"/>
                <a:gd name="T11" fmla="*/ 2147483647 h 374"/>
                <a:gd name="T12" fmla="*/ 2147483647 w 317"/>
                <a:gd name="T13" fmla="*/ 2147483647 h 374"/>
                <a:gd name="T14" fmla="*/ 2147483647 w 317"/>
                <a:gd name="T15" fmla="*/ 2147483647 h 374"/>
                <a:gd name="T16" fmla="*/ 2147483647 w 317"/>
                <a:gd name="T17" fmla="*/ 2147483647 h 374"/>
                <a:gd name="T18" fmla="*/ 2147483647 w 317"/>
                <a:gd name="T19" fmla="*/ 2147483647 h 374"/>
                <a:gd name="T20" fmla="*/ 2147483647 w 317"/>
                <a:gd name="T21" fmla="*/ 2147483647 h 374"/>
                <a:gd name="T22" fmla="*/ 2147483647 w 317"/>
                <a:gd name="T23" fmla="*/ 2147483647 h 374"/>
                <a:gd name="T24" fmla="*/ 2147483647 w 317"/>
                <a:gd name="T25" fmla="*/ 2147483647 h 374"/>
                <a:gd name="T26" fmla="*/ 2147483647 w 317"/>
                <a:gd name="T27" fmla="*/ 2147483647 h 374"/>
                <a:gd name="T28" fmla="*/ 2147483647 w 317"/>
                <a:gd name="T29" fmla="*/ 2147483647 h 374"/>
                <a:gd name="T30" fmla="*/ 2147483647 w 317"/>
                <a:gd name="T31" fmla="*/ 2147483647 h 374"/>
                <a:gd name="T32" fmla="*/ 2147483647 w 317"/>
                <a:gd name="T33" fmla="*/ 2147483647 h 374"/>
                <a:gd name="T34" fmla="*/ 2147483647 w 317"/>
                <a:gd name="T35" fmla="*/ 2147483647 h 374"/>
                <a:gd name="T36" fmla="*/ 2147483647 w 317"/>
                <a:gd name="T37" fmla="*/ 2147483647 h 374"/>
                <a:gd name="T38" fmla="*/ 2147483647 w 317"/>
                <a:gd name="T39" fmla="*/ 2147483647 h 374"/>
                <a:gd name="T40" fmla="*/ 2147483647 w 317"/>
                <a:gd name="T41" fmla="*/ 2147483647 h 374"/>
                <a:gd name="T42" fmla="*/ 2147483647 w 317"/>
                <a:gd name="T43" fmla="*/ 2147483647 h 374"/>
                <a:gd name="T44" fmla="*/ 2147483647 w 317"/>
                <a:gd name="T45" fmla="*/ 2147483647 h 374"/>
                <a:gd name="T46" fmla="*/ 2147483647 w 317"/>
                <a:gd name="T47" fmla="*/ 2147483647 h 374"/>
                <a:gd name="T48" fmla="*/ 2147483647 w 317"/>
                <a:gd name="T49" fmla="*/ 2147483647 h 374"/>
                <a:gd name="T50" fmla="*/ 2147483647 w 317"/>
                <a:gd name="T51" fmla="*/ 2147483647 h 374"/>
                <a:gd name="T52" fmla="*/ 2147483647 w 317"/>
                <a:gd name="T53" fmla="*/ 2147483647 h 374"/>
                <a:gd name="T54" fmla="*/ 2147483647 w 317"/>
                <a:gd name="T55" fmla="*/ 2147483647 h 374"/>
                <a:gd name="T56" fmla="*/ 2147483647 w 317"/>
                <a:gd name="T57" fmla="*/ 2147483647 h 374"/>
                <a:gd name="T58" fmla="*/ 2147483647 w 317"/>
                <a:gd name="T59" fmla="*/ 2147483647 h 374"/>
                <a:gd name="T60" fmla="*/ 2147483647 w 317"/>
                <a:gd name="T61" fmla="*/ 2147483647 h 374"/>
                <a:gd name="T62" fmla="*/ 2147483647 w 317"/>
                <a:gd name="T63" fmla="*/ 2147483647 h 374"/>
                <a:gd name="T64" fmla="*/ 2147483647 w 317"/>
                <a:gd name="T65" fmla="*/ 2147483647 h 374"/>
                <a:gd name="T66" fmla="*/ 2147483647 w 317"/>
                <a:gd name="T67" fmla="*/ 2147483647 h 374"/>
                <a:gd name="T68" fmla="*/ 2147483647 w 317"/>
                <a:gd name="T69" fmla="*/ 2147483647 h 374"/>
                <a:gd name="T70" fmla="*/ 2147483647 w 317"/>
                <a:gd name="T71" fmla="*/ 2147483647 h 374"/>
                <a:gd name="T72" fmla="*/ 2147483647 w 317"/>
                <a:gd name="T73" fmla="*/ 2147483647 h 374"/>
                <a:gd name="T74" fmla="*/ 2147483647 w 317"/>
                <a:gd name="T75" fmla="*/ 2147483647 h 374"/>
                <a:gd name="T76" fmla="*/ 2147483647 w 317"/>
                <a:gd name="T77" fmla="*/ 2147483647 h 374"/>
                <a:gd name="T78" fmla="*/ 2147483647 w 317"/>
                <a:gd name="T79" fmla="*/ 2147483647 h 374"/>
                <a:gd name="T80" fmla="*/ 2147483647 w 317"/>
                <a:gd name="T81" fmla="*/ 2147483647 h 374"/>
                <a:gd name="T82" fmla="*/ 2147483647 w 317"/>
                <a:gd name="T83" fmla="*/ 2147483647 h 374"/>
                <a:gd name="T84" fmla="*/ 2147483647 w 317"/>
                <a:gd name="T85" fmla="*/ 2147483647 h 374"/>
                <a:gd name="T86" fmla="*/ 2147483647 w 317"/>
                <a:gd name="T87" fmla="*/ 2147483647 h 374"/>
                <a:gd name="T88" fmla="*/ 2147483647 w 317"/>
                <a:gd name="T89" fmla="*/ 2147483647 h 374"/>
                <a:gd name="T90" fmla="*/ 2147483647 w 317"/>
                <a:gd name="T91" fmla="*/ 2147483647 h 374"/>
                <a:gd name="T92" fmla="*/ 2147483647 w 317"/>
                <a:gd name="T93" fmla="*/ 2147483647 h 374"/>
                <a:gd name="T94" fmla="*/ 2147483647 w 317"/>
                <a:gd name="T95" fmla="*/ 2147483647 h 374"/>
                <a:gd name="T96" fmla="*/ 2147483647 w 317"/>
                <a:gd name="T97" fmla="*/ 2147483647 h 37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17"/>
                <a:gd name="T148" fmla="*/ 0 h 374"/>
                <a:gd name="T149" fmla="*/ 317 w 317"/>
                <a:gd name="T150" fmla="*/ 374 h 37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17" h="374">
                  <a:moveTo>
                    <a:pt x="6" y="244"/>
                  </a:moveTo>
                  <a:lnTo>
                    <a:pt x="11" y="244"/>
                  </a:lnTo>
                  <a:lnTo>
                    <a:pt x="11" y="238"/>
                  </a:lnTo>
                  <a:lnTo>
                    <a:pt x="17" y="233"/>
                  </a:lnTo>
                  <a:lnTo>
                    <a:pt x="17" y="227"/>
                  </a:lnTo>
                  <a:lnTo>
                    <a:pt x="11" y="227"/>
                  </a:lnTo>
                  <a:lnTo>
                    <a:pt x="11" y="221"/>
                  </a:lnTo>
                  <a:lnTo>
                    <a:pt x="0" y="216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11" y="210"/>
                  </a:lnTo>
                  <a:lnTo>
                    <a:pt x="17" y="199"/>
                  </a:lnTo>
                  <a:lnTo>
                    <a:pt x="23" y="199"/>
                  </a:lnTo>
                  <a:lnTo>
                    <a:pt x="23" y="193"/>
                  </a:lnTo>
                  <a:lnTo>
                    <a:pt x="23" y="187"/>
                  </a:lnTo>
                  <a:lnTo>
                    <a:pt x="17" y="193"/>
                  </a:lnTo>
                  <a:lnTo>
                    <a:pt x="6" y="193"/>
                  </a:lnTo>
                  <a:lnTo>
                    <a:pt x="0" y="193"/>
                  </a:lnTo>
                  <a:lnTo>
                    <a:pt x="0" y="187"/>
                  </a:lnTo>
                  <a:lnTo>
                    <a:pt x="6" y="182"/>
                  </a:lnTo>
                  <a:lnTo>
                    <a:pt x="11" y="182"/>
                  </a:lnTo>
                  <a:lnTo>
                    <a:pt x="11" y="176"/>
                  </a:lnTo>
                  <a:lnTo>
                    <a:pt x="17" y="170"/>
                  </a:lnTo>
                  <a:lnTo>
                    <a:pt x="23" y="165"/>
                  </a:lnTo>
                  <a:lnTo>
                    <a:pt x="23" y="153"/>
                  </a:lnTo>
                  <a:lnTo>
                    <a:pt x="28" y="142"/>
                  </a:lnTo>
                  <a:lnTo>
                    <a:pt x="23" y="136"/>
                  </a:lnTo>
                  <a:lnTo>
                    <a:pt x="23" y="131"/>
                  </a:lnTo>
                  <a:lnTo>
                    <a:pt x="23" y="119"/>
                  </a:lnTo>
                  <a:lnTo>
                    <a:pt x="23" y="113"/>
                  </a:lnTo>
                  <a:lnTo>
                    <a:pt x="23" y="108"/>
                  </a:lnTo>
                  <a:lnTo>
                    <a:pt x="28" y="96"/>
                  </a:lnTo>
                  <a:lnTo>
                    <a:pt x="34" y="96"/>
                  </a:lnTo>
                  <a:lnTo>
                    <a:pt x="40" y="91"/>
                  </a:lnTo>
                  <a:lnTo>
                    <a:pt x="28" y="91"/>
                  </a:lnTo>
                  <a:lnTo>
                    <a:pt x="28" y="85"/>
                  </a:lnTo>
                  <a:lnTo>
                    <a:pt x="23" y="85"/>
                  </a:lnTo>
                  <a:lnTo>
                    <a:pt x="23" y="79"/>
                  </a:lnTo>
                  <a:lnTo>
                    <a:pt x="28" y="79"/>
                  </a:lnTo>
                  <a:lnTo>
                    <a:pt x="28" y="74"/>
                  </a:lnTo>
                  <a:lnTo>
                    <a:pt x="40" y="74"/>
                  </a:lnTo>
                  <a:lnTo>
                    <a:pt x="51" y="74"/>
                  </a:lnTo>
                  <a:lnTo>
                    <a:pt x="62" y="74"/>
                  </a:lnTo>
                  <a:lnTo>
                    <a:pt x="68" y="68"/>
                  </a:lnTo>
                  <a:lnTo>
                    <a:pt x="68" y="62"/>
                  </a:lnTo>
                  <a:lnTo>
                    <a:pt x="62" y="57"/>
                  </a:lnTo>
                  <a:lnTo>
                    <a:pt x="51" y="57"/>
                  </a:lnTo>
                  <a:lnTo>
                    <a:pt x="51" y="45"/>
                  </a:lnTo>
                  <a:lnTo>
                    <a:pt x="57" y="40"/>
                  </a:lnTo>
                  <a:lnTo>
                    <a:pt x="62" y="34"/>
                  </a:lnTo>
                  <a:lnTo>
                    <a:pt x="68" y="34"/>
                  </a:lnTo>
                  <a:lnTo>
                    <a:pt x="74" y="34"/>
                  </a:lnTo>
                  <a:lnTo>
                    <a:pt x="79" y="28"/>
                  </a:lnTo>
                  <a:lnTo>
                    <a:pt x="85" y="23"/>
                  </a:lnTo>
                  <a:lnTo>
                    <a:pt x="85" y="11"/>
                  </a:lnTo>
                  <a:lnTo>
                    <a:pt x="85" y="6"/>
                  </a:lnTo>
                  <a:lnTo>
                    <a:pt x="91" y="0"/>
                  </a:lnTo>
                  <a:lnTo>
                    <a:pt x="96" y="0"/>
                  </a:lnTo>
                  <a:lnTo>
                    <a:pt x="108" y="6"/>
                  </a:lnTo>
                  <a:lnTo>
                    <a:pt x="113" y="17"/>
                  </a:lnTo>
                  <a:lnTo>
                    <a:pt x="113" y="28"/>
                  </a:lnTo>
                  <a:lnTo>
                    <a:pt x="119" y="34"/>
                  </a:lnTo>
                  <a:lnTo>
                    <a:pt x="130" y="45"/>
                  </a:lnTo>
                  <a:lnTo>
                    <a:pt x="136" y="51"/>
                  </a:lnTo>
                  <a:lnTo>
                    <a:pt x="142" y="57"/>
                  </a:lnTo>
                  <a:lnTo>
                    <a:pt x="147" y="62"/>
                  </a:lnTo>
                  <a:lnTo>
                    <a:pt x="147" y="68"/>
                  </a:lnTo>
                  <a:lnTo>
                    <a:pt x="142" y="68"/>
                  </a:lnTo>
                  <a:lnTo>
                    <a:pt x="136" y="68"/>
                  </a:lnTo>
                  <a:lnTo>
                    <a:pt x="136" y="74"/>
                  </a:lnTo>
                  <a:lnTo>
                    <a:pt x="142" y="74"/>
                  </a:lnTo>
                  <a:lnTo>
                    <a:pt x="142" y="79"/>
                  </a:lnTo>
                  <a:lnTo>
                    <a:pt x="153" y="85"/>
                  </a:lnTo>
                  <a:lnTo>
                    <a:pt x="159" y="85"/>
                  </a:lnTo>
                  <a:lnTo>
                    <a:pt x="164" y="91"/>
                  </a:lnTo>
                  <a:lnTo>
                    <a:pt x="170" y="91"/>
                  </a:lnTo>
                  <a:lnTo>
                    <a:pt x="181" y="96"/>
                  </a:lnTo>
                  <a:lnTo>
                    <a:pt x="193" y="96"/>
                  </a:lnTo>
                  <a:lnTo>
                    <a:pt x="198" y="96"/>
                  </a:lnTo>
                  <a:lnTo>
                    <a:pt x="210" y="96"/>
                  </a:lnTo>
                  <a:lnTo>
                    <a:pt x="221" y="102"/>
                  </a:lnTo>
                  <a:lnTo>
                    <a:pt x="227" y="113"/>
                  </a:lnTo>
                  <a:lnTo>
                    <a:pt x="227" y="119"/>
                  </a:lnTo>
                  <a:lnTo>
                    <a:pt x="221" y="131"/>
                  </a:lnTo>
                  <a:lnTo>
                    <a:pt x="221" y="142"/>
                  </a:lnTo>
                  <a:lnTo>
                    <a:pt x="221" y="148"/>
                  </a:lnTo>
                  <a:lnTo>
                    <a:pt x="232" y="165"/>
                  </a:lnTo>
                  <a:lnTo>
                    <a:pt x="238" y="182"/>
                  </a:lnTo>
                  <a:lnTo>
                    <a:pt x="249" y="193"/>
                  </a:lnTo>
                  <a:lnTo>
                    <a:pt x="255" y="193"/>
                  </a:lnTo>
                  <a:lnTo>
                    <a:pt x="266" y="199"/>
                  </a:lnTo>
                  <a:lnTo>
                    <a:pt x="278" y="204"/>
                  </a:lnTo>
                  <a:lnTo>
                    <a:pt x="278" y="210"/>
                  </a:lnTo>
                  <a:lnTo>
                    <a:pt x="295" y="227"/>
                  </a:lnTo>
                  <a:lnTo>
                    <a:pt x="300" y="244"/>
                  </a:lnTo>
                  <a:lnTo>
                    <a:pt x="295" y="244"/>
                  </a:lnTo>
                  <a:lnTo>
                    <a:pt x="289" y="250"/>
                  </a:lnTo>
                  <a:lnTo>
                    <a:pt x="295" y="250"/>
                  </a:lnTo>
                  <a:lnTo>
                    <a:pt x="289" y="250"/>
                  </a:lnTo>
                  <a:lnTo>
                    <a:pt x="289" y="255"/>
                  </a:lnTo>
                  <a:lnTo>
                    <a:pt x="289" y="261"/>
                  </a:lnTo>
                  <a:lnTo>
                    <a:pt x="295" y="261"/>
                  </a:lnTo>
                  <a:lnTo>
                    <a:pt x="295" y="267"/>
                  </a:lnTo>
                  <a:lnTo>
                    <a:pt x="300" y="267"/>
                  </a:lnTo>
                  <a:lnTo>
                    <a:pt x="306" y="272"/>
                  </a:lnTo>
                  <a:lnTo>
                    <a:pt x="312" y="272"/>
                  </a:lnTo>
                  <a:lnTo>
                    <a:pt x="312" y="278"/>
                  </a:lnTo>
                  <a:lnTo>
                    <a:pt x="312" y="284"/>
                  </a:lnTo>
                  <a:lnTo>
                    <a:pt x="312" y="289"/>
                  </a:lnTo>
                  <a:lnTo>
                    <a:pt x="306" y="289"/>
                  </a:lnTo>
                  <a:lnTo>
                    <a:pt x="312" y="289"/>
                  </a:lnTo>
                  <a:lnTo>
                    <a:pt x="306" y="289"/>
                  </a:lnTo>
                  <a:lnTo>
                    <a:pt x="312" y="289"/>
                  </a:lnTo>
                  <a:lnTo>
                    <a:pt x="312" y="295"/>
                  </a:lnTo>
                  <a:lnTo>
                    <a:pt x="312" y="306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12" y="312"/>
                  </a:lnTo>
                  <a:lnTo>
                    <a:pt x="317" y="318"/>
                  </a:lnTo>
                  <a:lnTo>
                    <a:pt x="312" y="323"/>
                  </a:lnTo>
                  <a:lnTo>
                    <a:pt x="312" y="329"/>
                  </a:lnTo>
                  <a:lnTo>
                    <a:pt x="306" y="329"/>
                  </a:lnTo>
                  <a:lnTo>
                    <a:pt x="306" y="335"/>
                  </a:lnTo>
                  <a:lnTo>
                    <a:pt x="300" y="340"/>
                  </a:lnTo>
                  <a:lnTo>
                    <a:pt x="306" y="340"/>
                  </a:lnTo>
                  <a:lnTo>
                    <a:pt x="300" y="346"/>
                  </a:lnTo>
                  <a:lnTo>
                    <a:pt x="295" y="352"/>
                  </a:lnTo>
                  <a:lnTo>
                    <a:pt x="300" y="352"/>
                  </a:lnTo>
                  <a:lnTo>
                    <a:pt x="295" y="352"/>
                  </a:lnTo>
                  <a:lnTo>
                    <a:pt x="283" y="352"/>
                  </a:lnTo>
                  <a:lnTo>
                    <a:pt x="272" y="352"/>
                  </a:lnTo>
                  <a:lnTo>
                    <a:pt x="266" y="352"/>
                  </a:lnTo>
                  <a:lnTo>
                    <a:pt x="249" y="352"/>
                  </a:lnTo>
                  <a:lnTo>
                    <a:pt x="244" y="352"/>
                  </a:lnTo>
                  <a:lnTo>
                    <a:pt x="238" y="352"/>
                  </a:lnTo>
                  <a:lnTo>
                    <a:pt x="210" y="352"/>
                  </a:lnTo>
                  <a:lnTo>
                    <a:pt x="204" y="352"/>
                  </a:lnTo>
                  <a:lnTo>
                    <a:pt x="198" y="352"/>
                  </a:lnTo>
                  <a:lnTo>
                    <a:pt x="193" y="352"/>
                  </a:lnTo>
                  <a:lnTo>
                    <a:pt x="187" y="352"/>
                  </a:lnTo>
                  <a:lnTo>
                    <a:pt x="176" y="352"/>
                  </a:lnTo>
                  <a:lnTo>
                    <a:pt x="170" y="352"/>
                  </a:lnTo>
                  <a:lnTo>
                    <a:pt x="176" y="357"/>
                  </a:lnTo>
                  <a:lnTo>
                    <a:pt x="164" y="357"/>
                  </a:lnTo>
                  <a:lnTo>
                    <a:pt x="159" y="357"/>
                  </a:lnTo>
                  <a:lnTo>
                    <a:pt x="130" y="363"/>
                  </a:lnTo>
                  <a:lnTo>
                    <a:pt x="125" y="363"/>
                  </a:lnTo>
                  <a:lnTo>
                    <a:pt x="119" y="363"/>
                  </a:lnTo>
                  <a:lnTo>
                    <a:pt x="113" y="363"/>
                  </a:lnTo>
                  <a:lnTo>
                    <a:pt x="96" y="363"/>
                  </a:lnTo>
                  <a:lnTo>
                    <a:pt x="91" y="369"/>
                  </a:lnTo>
                  <a:lnTo>
                    <a:pt x="85" y="369"/>
                  </a:lnTo>
                  <a:lnTo>
                    <a:pt x="79" y="369"/>
                  </a:lnTo>
                  <a:lnTo>
                    <a:pt x="74" y="369"/>
                  </a:lnTo>
                  <a:lnTo>
                    <a:pt x="62" y="374"/>
                  </a:lnTo>
                  <a:lnTo>
                    <a:pt x="57" y="374"/>
                  </a:lnTo>
                  <a:lnTo>
                    <a:pt x="57" y="369"/>
                  </a:lnTo>
                  <a:lnTo>
                    <a:pt x="51" y="369"/>
                  </a:lnTo>
                  <a:lnTo>
                    <a:pt x="51" y="363"/>
                  </a:lnTo>
                  <a:lnTo>
                    <a:pt x="45" y="363"/>
                  </a:lnTo>
                  <a:lnTo>
                    <a:pt x="40" y="357"/>
                  </a:lnTo>
                  <a:lnTo>
                    <a:pt x="40" y="352"/>
                  </a:lnTo>
                  <a:lnTo>
                    <a:pt x="40" y="340"/>
                  </a:lnTo>
                  <a:lnTo>
                    <a:pt x="40" y="335"/>
                  </a:lnTo>
                  <a:lnTo>
                    <a:pt x="40" y="323"/>
                  </a:lnTo>
                  <a:lnTo>
                    <a:pt x="40" y="318"/>
                  </a:lnTo>
                  <a:lnTo>
                    <a:pt x="40" y="312"/>
                  </a:lnTo>
                  <a:lnTo>
                    <a:pt x="40" y="306"/>
                  </a:lnTo>
                  <a:lnTo>
                    <a:pt x="40" y="301"/>
                  </a:lnTo>
                  <a:lnTo>
                    <a:pt x="40" y="295"/>
                  </a:lnTo>
                  <a:lnTo>
                    <a:pt x="40" y="289"/>
                  </a:lnTo>
                  <a:lnTo>
                    <a:pt x="40" y="284"/>
                  </a:lnTo>
                  <a:lnTo>
                    <a:pt x="40" y="272"/>
                  </a:lnTo>
                  <a:lnTo>
                    <a:pt x="28" y="267"/>
                  </a:lnTo>
                  <a:lnTo>
                    <a:pt x="28" y="261"/>
                  </a:lnTo>
                  <a:lnTo>
                    <a:pt x="28" y="255"/>
                  </a:lnTo>
                  <a:lnTo>
                    <a:pt x="23" y="255"/>
                  </a:lnTo>
                  <a:lnTo>
                    <a:pt x="23" y="250"/>
                  </a:lnTo>
                  <a:lnTo>
                    <a:pt x="17" y="250"/>
                  </a:lnTo>
                  <a:lnTo>
                    <a:pt x="11" y="250"/>
                  </a:lnTo>
                  <a:lnTo>
                    <a:pt x="6" y="244"/>
                  </a:lnTo>
                  <a:close/>
                  <a:moveTo>
                    <a:pt x="300" y="255"/>
                  </a:moveTo>
                  <a:lnTo>
                    <a:pt x="295" y="250"/>
                  </a:lnTo>
                  <a:lnTo>
                    <a:pt x="300" y="250"/>
                  </a:lnTo>
                  <a:lnTo>
                    <a:pt x="306" y="250"/>
                  </a:lnTo>
                  <a:lnTo>
                    <a:pt x="306" y="255"/>
                  </a:lnTo>
                  <a:lnTo>
                    <a:pt x="306" y="261"/>
                  </a:lnTo>
                  <a:lnTo>
                    <a:pt x="300" y="261"/>
                  </a:lnTo>
                  <a:lnTo>
                    <a:pt x="300" y="255"/>
                  </a:lnTo>
                  <a:close/>
                  <a:moveTo>
                    <a:pt x="312" y="335"/>
                  </a:moveTo>
                  <a:lnTo>
                    <a:pt x="306" y="329"/>
                  </a:lnTo>
                  <a:lnTo>
                    <a:pt x="312" y="329"/>
                  </a:lnTo>
                  <a:lnTo>
                    <a:pt x="312" y="323"/>
                  </a:lnTo>
                  <a:lnTo>
                    <a:pt x="312" y="318"/>
                  </a:lnTo>
                  <a:lnTo>
                    <a:pt x="317" y="318"/>
                  </a:lnTo>
                  <a:lnTo>
                    <a:pt x="317" y="323"/>
                  </a:lnTo>
                  <a:lnTo>
                    <a:pt x="317" y="329"/>
                  </a:lnTo>
                  <a:lnTo>
                    <a:pt x="317" y="335"/>
                  </a:lnTo>
                  <a:lnTo>
                    <a:pt x="312" y="33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52" name="Freeform 31"/>
            <p:cNvSpPr>
              <a:spLocks/>
            </p:cNvSpPr>
            <p:nvPr/>
          </p:nvSpPr>
          <p:spPr bwMode="gray">
            <a:xfrm>
              <a:off x="2147003" y="4047157"/>
              <a:ext cx="373141" cy="476136"/>
            </a:xfrm>
            <a:custGeom>
              <a:avLst/>
              <a:gdLst>
                <a:gd name="T0" fmla="*/ 2147483647 w 266"/>
                <a:gd name="T1" fmla="*/ 2147483647 h 357"/>
                <a:gd name="T2" fmla="*/ 2147483647 w 266"/>
                <a:gd name="T3" fmla="*/ 2147483647 h 357"/>
                <a:gd name="T4" fmla="*/ 2147483647 w 266"/>
                <a:gd name="T5" fmla="*/ 2147483647 h 357"/>
                <a:gd name="T6" fmla="*/ 2147483647 w 266"/>
                <a:gd name="T7" fmla="*/ 2147483647 h 357"/>
                <a:gd name="T8" fmla="*/ 2147483647 w 266"/>
                <a:gd name="T9" fmla="*/ 2147483647 h 357"/>
                <a:gd name="T10" fmla="*/ 2147483647 w 266"/>
                <a:gd name="T11" fmla="*/ 2147483647 h 357"/>
                <a:gd name="T12" fmla="*/ 2147483647 w 266"/>
                <a:gd name="T13" fmla="*/ 2147483647 h 357"/>
                <a:gd name="T14" fmla="*/ 2147483647 w 266"/>
                <a:gd name="T15" fmla="*/ 2147483647 h 357"/>
                <a:gd name="T16" fmla="*/ 2147483647 w 266"/>
                <a:gd name="T17" fmla="*/ 2147483647 h 357"/>
                <a:gd name="T18" fmla="*/ 2147483647 w 266"/>
                <a:gd name="T19" fmla="*/ 2147483647 h 357"/>
                <a:gd name="T20" fmla="*/ 2147483647 w 266"/>
                <a:gd name="T21" fmla="*/ 2147483647 h 357"/>
                <a:gd name="T22" fmla="*/ 2147483647 w 266"/>
                <a:gd name="T23" fmla="*/ 2147483647 h 357"/>
                <a:gd name="T24" fmla="*/ 2147483647 w 266"/>
                <a:gd name="T25" fmla="*/ 2147483647 h 357"/>
                <a:gd name="T26" fmla="*/ 2147483647 w 266"/>
                <a:gd name="T27" fmla="*/ 2147483647 h 357"/>
                <a:gd name="T28" fmla="*/ 2147483647 w 266"/>
                <a:gd name="T29" fmla="*/ 2147483647 h 357"/>
                <a:gd name="T30" fmla="*/ 2147483647 w 266"/>
                <a:gd name="T31" fmla="*/ 2147483647 h 357"/>
                <a:gd name="T32" fmla="*/ 2147483647 w 266"/>
                <a:gd name="T33" fmla="*/ 0 h 357"/>
                <a:gd name="T34" fmla="*/ 2147483647 w 266"/>
                <a:gd name="T35" fmla="*/ 2147483647 h 357"/>
                <a:gd name="T36" fmla="*/ 2147483647 w 266"/>
                <a:gd name="T37" fmla="*/ 2147483647 h 357"/>
                <a:gd name="T38" fmla="*/ 2147483647 w 266"/>
                <a:gd name="T39" fmla="*/ 2147483647 h 357"/>
                <a:gd name="T40" fmla="*/ 2147483647 w 266"/>
                <a:gd name="T41" fmla="*/ 2147483647 h 357"/>
                <a:gd name="T42" fmla="*/ 2147483647 w 266"/>
                <a:gd name="T43" fmla="*/ 2147483647 h 357"/>
                <a:gd name="T44" fmla="*/ 2147483647 w 266"/>
                <a:gd name="T45" fmla="*/ 2147483647 h 357"/>
                <a:gd name="T46" fmla="*/ 2147483647 w 266"/>
                <a:gd name="T47" fmla="*/ 2147483647 h 357"/>
                <a:gd name="T48" fmla="*/ 2147483647 w 266"/>
                <a:gd name="T49" fmla="*/ 2147483647 h 357"/>
                <a:gd name="T50" fmla="*/ 2147483647 w 266"/>
                <a:gd name="T51" fmla="*/ 2147483647 h 357"/>
                <a:gd name="T52" fmla="*/ 2147483647 w 266"/>
                <a:gd name="T53" fmla="*/ 2147483647 h 357"/>
                <a:gd name="T54" fmla="*/ 2147483647 w 266"/>
                <a:gd name="T55" fmla="*/ 2147483647 h 357"/>
                <a:gd name="T56" fmla="*/ 2147483647 w 266"/>
                <a:gd name="T57" fmla="*/ 2147483647 h 357"/>
                <a:gd name="T58" fmla="*/ 2147483647 w 266"/>
                <a:gd name="T59" fmla="*/ 2147483647 h 357"/>
                <a:gd name="T60" fmla="*/ 2147483647 w 266"/>
                <a:gd name="T61" fmla="*/ 2147483647 h 357"/>
                <a:gd name="T62" fmla="*/ 2147483647 w 266"/>
                <a:gd name="T63" fmla="*/ 2147483647 h 357"/>
                <a:gd name="T64" fmla="*/ 2147483647 w 266"/>
                <a:gd name="T65" fmla="*/ 2147483647 h 357"/>
                <a:gd name="T66" fmla="*/ 2147483647 w 266"/>
                <a:gd name="T67" fmla="*/ 2147483647 h 357"/>
                <a:gd name="T68" fmla="*/ 2147483647 w 266"/>
                <a:gd name="T69" fmla="*/ 2147483647 h 357"/>
                <a:gd name="T70" fmla="*/ 2147483647 w 266"/>
                <a:gd name="T71" fmla="*/ 2147483647 h 357"/>
                <a:gd name="T72" fmla="*/ 2147483647 w 266"/>
                <a:gd name="T73" fmla="*/ 2147483647 h 357"/>
                <a:gd name="T74" fmla="*/ 2147483647 w 266"/>
                <a:gd name="T75" fmla="*/ 2147483647 h 357"/>
                <a:gd name="T76" fmla="*/ 2147483647 w 266"/>
                <a:gd name="T77" fmla="*/ 2147483647 h 357"/>
                <a:gd name="T78" fmla="*/ 2147483647 w 266"/>
                <a:gd name="T79" fmla="*/ 2147483647 h 357"/>
                <a:gd name="T80" fmla="*/ 2147483647 w 266"/>
                <a:gd name="T81" fmla="*/ 2147483647 h 357"/>
                <a:gd name="T82" fmla="*/ 2147483647 w 266"/>
                <a:gd name="T83" fmla="*/ 2147483647 h 357"/>
                <a:gd name="T84" fmla="*/ 2147483647 w 266"/>
                <a:gd name="T85" fmla="*/ 2147483647 h 357"/>
                <a:gd name="T86" fmla="*/ 2147483647 w 266"/>
                <a:gd name="T87" fmla="*/ 2147483647 h 357"/>
                <a:gd name="T88" fmla="*/ 2147483647 w 266"/>
                <a:gd name="T89" fmla="*/ 2147483647 h 357"/>
                <a:gd name="T90" fmla="*/ 2147483647 w 266"/>
                <a:gd name="T91" fmla="*/ 2147483647 h 357"/>
                <a:gd name="T92" fmla="*/ 2147483647 w 266"/>
                <a:gd name="T93" fmla="*/ 2147483647 h 357"/>
                <a:gd name="T94" fmla="*/ 2147483647 w 266"/>
                <a:gd name="T95" fmla="*/ 2147483647 h 357"/>
                <a:gd name="T96" fmla="*/ 2147483647 w 266"/>
                <a:gd name="T97" fmla="*/ 2147483647 h 357"/>
                <a:gd name="T98" fmla="*/ 2147483647 w 266"/>
                <a:gd name="T99" fmla="*/ 2147483647 h 357"/>
                <a:gd name="T100" fmla="*/ 2147483647 w 266"/>
                <a:gd name="T101" fmla="*/ 2147483647 h 357"/>
                <a:gd name="T102" fmla="*/ 2147483647 w 266"/>
                <a:gd name="T103" fmla="*/ 2147483647 h 357"/>
                <a:gd name="T104" fmla="*/ 2147483647 w 266"/>
                <a:gd name="T105" fmla="*/ 2147483647 h 357"/>
                <a:gd name="T106" fmla="*/ 2147483647 w 266"/>
                <a:gd name="T107" fmla="*/ 2147483647 h 35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66"/>
                <a:gd name="T163" fmla="*/ 0 h 357"/>
                <a:gd name="T164" fmla="*/ 266 w 266"/>
                <a:gd name="T165" fmla="*/ 357 h 35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66" h="357">
                  <a:moveTo>
                    <a:pt x="6" y="352"/>
                  </a:moveTo>
                  <a:lnTo>
                    <a:pt x="0" y="352"/>
                  </a:lnTo>
                  <a:lnTo>
                    <a:pt x="6" y="346"/>
                  </a:lnTo>
                  <a:lnTo>
                    <a:pt x="6" y="335"/>
                  </a:lnTo>
                  <a:lnTo>
                    <a:pt x="11" y="323"/>
                  </a:lnTo>
                  <a:lnTo>
                    <a:pt x="11" y="312"/>
                  </a:lnTo>
                  <a:lnTo>
                    <a:pt x="11" y="306"/>
                  </a:lnTo>
                  <a:lnTo>
                    <a:pt x="17" y="301"/>
                  </a:lnTo>
                  <a:lnTo>
                    <a:pt x="17" y="295"/>
                  </a:lnTo>
                  <a:lnTo>
                    <a:pt x="23" y="284"/>
                  </a:lnTo>
                  <a:lnTo>
                    <a:pt x="28" y="278"/>
                  </a:lnTo>
                  <a:lnTo>
                    <a:pt x="28" y="267"/>
                  </a:lnTo>
                  <a:lnTo>
                    <a:pt x="28" y="255"/>
                  </a:lnTo>
                  <a:lnTo>
                    <a:pt x="34" y="250"/>
                  </a:lnTo>
                  <a:lnTo>
                    <a:pt x="34" y="238"/>
                  </a:lnTo>
                  <a:lnTo>
                    <a:pt x="40" y="227"/>
                  </a:lnTo>
                  <a:lnTo>
                    <a:pt x="45" y="216"/>
                  </a:lnTo>
                  <a:lnTo>
                    <a:pt x="45" y="210"/>
                  </a:lnTo>
                  <a:lnTo>
                    <a:pt x="40" y="199"/>
                  </a:lnTo>
                  <a:lnTo>
                    <a:pt x="40" y="182"/>
                  </a:lnTo>
                  <a:lnTo>
                    <a:pt x="40" y="176"/>
                  </a:lnTo>
                  <a:lnTo>
                    <a:pt x="40" y="165"/>
                  </a:lnTo>
                  <a:lnTo>
                    <a:pt x="34" y="153"/>
                  </a:lnTo>
                  <a:lnTo>
                    <a:pt x="28" y="136"/>
                  </a:lnTo>
                  <a:lnTo>
                    <a:pt x="28" y="131"/>
                  </a:lnTo>
                  <a:lnTo>
                    <a:pt x="23" y="114"/>
                  </a:lnTo>
                  <a:lnTo>
                    <a:pt x="17" y="102"/>
                  </a:lnTo>
                  <a:lnTo>
                    <a:pt x="17" y="91"/>
                  </a:lnTo>
                  <a:lnTo>
                    <a:pt x="17" y="85"/>
                  </a:lnTo>
                  <a:lnTo>
                    <a:pt x="23" y="85"/>
                  </a:lnTo>
                  <a:lnTo>
                    <a:pt x="28" y="85"/>
                  </a:lnTo>
                  <a:lnTo>
                    <a:pt x="23" y="74"/>
                  </a:lnTo>
                  <a:lnTo>
                    <a:pt x="40" y="74"/>
                  </a:lnTo>
                  <a:lnTo>
                    <a:pt x="45" y="74"/>
                  </a:lnTo>
                  <a:lnTo>
                    <a:pt x="51" y="74"/>
                  </a:lnTo>
                  <a:lnTo>
                    <a:pt x="57" y="74"/>
                  </a:lnTo>
                  <a:lnTo>
                    <a:pt x="62" y="74"/>
                  </a:lnTo>
                  <a:lnTo>
                    <a:pt x="68" y="68"/>
                  </a:lnTo>
                  <a:lnTo>
                    <a:pt x="74" y="68"/>
                  </a:lnTo>
                  <a:lnTo>
                    <a:pt x="79" y="63"/>
                  </a:lnTo>
                  <a:lnTo>
                    <a:pt x="79" y="57"/>
                  </a:lnTo>
                  <a:lnTo>
                    <a:pt x="79" y="51"/>
                  </a:lnTo>
                  <a:lnTo>
                    <a:pt x="85" y="40"/>
                  </a:lnTo>
                  <a:lnTo>
                    <a:pt x="85" y="29"/>
                  </a:lnTo>
                  <a:lnTo>
                    <a:pt x="85" y="23"/>
                  </a:lnTo>
                  <a:lnTo>
                    <a:pt x="91" y="17"/>
                  </a:lnTo>
                  <a:lnTo>
                    <a:pt x="96" y="17"/>
                  </a:lnTo>
                  <a:lnTo>
                    <a:pt x="96" y="12"/>
                  </a:lnTo>
                  <a:lnTo>
                    <a:pt x="102" y="6"/>
                  </a:lnTo>
                  <a:lnTo>
                    <a:pt x="108" y="0"/>
                  </a:lnTo>
                  <a:lnTo>
                    <a:pt x="113" y="0"/>
                  </a:lnTo>
                  <a:lnTo>
                    <a:pt x="113" y="6"/>
                  </a:lnTo>
                  <a:lnTo>
                    <a:pt x="113" y="12"/>
                  </a:lnTo>
                  <a:lnTo>
                    <a:pt x="113" y="17"/>
                  </a:lnTo>
                  <a:lnTo>
                    <a:pt x="119" y="17"/>
                  </a:lnTo>
                  <a:lnTo>
                    <a:pt x="125" y="17"/>
                  </a:lnTo>
                  <a:lnTo>
                    <a:pt x="125" y="12"/>
                  </a:lnTo>
                  <a:lnTo>
                    <a:pt x="130" y="12"/>
                  </a:lnTo>
                  <a:lnTo>
                    <a:pt x="136" y="12"/>
                  </a:lnTo>
                  <a:lnTo>
                    <a:pt x="142" y="12"/>
                  </a:lnTo>
                  <a:lnTo>
                    <a:pt x="147" y="17"/>
                  </a:lnTo>
                  <a:lnTo>
                    <a:pt x="153" y="17"/>
                  </a:lnTo>
                  <a:lnTo>
                    <a:pt x="159" y="23"/>
                  </a:lnTo>
                  <a:lnTo>
                    <a:pt x="164" y="23"/>
                  </a:lnTo>
                  <a:lnTo>
                    <a:pt x="170" y="23"/>
                  </a:lnTo>
                  <a:lnTo>
                    <a:pt x="176" y="29"/>
                  </a:lnTo>
                  <a:lnTo>
                    <a:pt x="181" y="29"/>
                  </a:lnTo>
                  <a:lnTo>
                    <a:pt x="187" y="34"/>
                  </a:lnTo>
                  <a:lnTo>
                    <a:pt x="187" y="40"/>
                  </a:lnTo>
                  <a:lnTo>
                    <a:pt x="181" y="46"/>
                  </a:lnTo>
                  <a:lnTo>
                    <a:pt x="181" y="51"/>
                  </a:lnTo>
                  <a:lnTo>
                    <a:pt x="181" y="57"/>
                  </a:lnTo>
                  <a:lnTo>
                    <a:pt x="176" y="57"/>
                  </a:lnTo>
                  <a:lnTo>
                    <a:pt x="176" y="63"/>
                  </a:lnTo>
                  <a:lnTo>
                    <a:pt x="170" y="63"/>
                  </a:lnTo>
                  <a:lnTo>
                    <a:pt x="164" y="68"/>
                  </a:lnTo>
                  <a:lnTo>
                    <a:pt x="159" y="74"/>
                  </a:lnTo>
                  <a:lnTo>
                    <a:pt x="159" y="80"/>
                  </a:lnTo>
                  <a:lnTo>
                    <a:pt x="153" y="85"/>
                  </a:lnTo>
                  <a:lnTo>
                    <a:pt x="153" y="91"/>
                  </a:lnTo>
                  <a:lnTo>
                    <a:pt x="159" y="97"/>
                  </a:lnTo>
                  <a:lnTo>
                    <a:pt x="153" y="97"/>
                  </a:lnTo>
                  <a:lnTo>
                    <a:pt x="153" y="102"/>
                  </a:lnTo>
                  <a:lnTo>
                    <a:pt x="153" y="108"/>
                  </a:lnTo>
                  <a:lnTo>
                    <a:pt x="153" y="114"/>
                  </a:lnTo>
                  <a:lnTo>
                    <a:pt x="159" y="114"/>
                  </a:lnTo>
                  <a:lnTo>
                    <a:pt x="164" y="114"/>
                  </a:lnTo>
                  <a:lnTo>
                    <a:pt x="170" y="114"/>
                  </a:lnTo>
                  <a:lnTo>
                    <a:pt x="170" y="119"/>
                  </a:lnTo>
                  <a:lnTo>
                    <a:pt x="176" y="125"/>
                  </a:lnTo>
                  <a:lnTo>
                    <a:pt x="181" y="125"/>
                  </a:lnTo>
                  <a:lnTo>
                    <a:pt x="181" y="131"/>
                  </a:lnTo>
                  <a:lnTo>
                    <a:pt x="187" y="131"/>
                  </a:lnTo>
                  <a:lnTo>
                    <a:pt x="193" y="136"/>
                  </a:lnTo>
                  <a:lnTo>
                    <a:pt x="193" y="142"/>
                  </a:lnTo>
                  <a:lnTo>
                    <a:pt x="193" y="153"/>
                  </a:lnTo>
                  <a:lnTo>
                    <a:pt x="198" y="153"/>
                  </a:lnTo>
                  <a:lnTo>
                    <a:pt x="198" y="159"/>
                  </a:lnTo>
                  <a:lnTo>
                    <a:pt x="193" y="165"/>
                  </a:lnTo>
                  <a:lnTo>
                    <a:pt x="193" y="170"/>
                  </a:lnTo>
                  <a:lnTo>
                    <a:pt x="193" y="176"/>
                  </a:lnTo>
                  <a:lnTo>
                    <a:pt x="193" y="182"/>
                  </a:lnTo>
                  <a:lnTo>
                    <a:pt x="198" y="182"/>
                  </a:lnTo>
                  <a:lnTo>
                    <a:pt x="204" y="182"/>
                  </a:lnTo>
                  <a:lnTo>
                    <a:pt x="210" y="182"/>
                  </a:lnTo>
                  <a:lnTo>
                    <a:pt x="210" y="187"/>
                  </a:lnTo>
                  <a:lnTo>
                    <a:pt x="210" y="193"/>
                  </a:lnTo>
                  <a:lnTo>
                    <a:pt x="210" y="199"/>
                  </a:lnTo>
                  <a:lnTo>
                    <a:pt x="215" y="199"/>
                  </a:lnTo>
                  <a:lnTo>
                    <a:pt x="221" y="199"/>
                  </a:lnTo>
                  <a:lnTo>
                    <a:pt x="221" y="204"/>
                  </a:lnTo>
                  <a:lnTo>
                    <a:pt x="221" y="216"/>
                  </a:lnTo>
                  <a:lnTo>
                    <a:pt x="221" y="221"/>
                  </a:lnTo>
                  <a:lnTo>
                    <a:pt x="227" y="227"/>
                  </a:lnTo>
                  <a:lnTo>
                    <a:pt x="227" y="238"/>
                  </a:lnTo>
                  <a:lnTo>
                    <a:pt x="232" y="244"/>
                  </a:lnTo>
                  <a:lnTo>
                    <a:pt x="238" y="244"/>
                  </a:lnTo>
                  <a:lnTo>
                    <a:pt x="238" y="250"/>
                  </a:lnTo>
                  <a:lnTo>
                    <a:pt x="244" y="250"/>
                  </a:lnTo>
                  <a:lnTo>
                    <a:pt x="249" y="250"/>
                  </a:lnTo>
                  <a:lnTo>
                    <a:pt x="255" y="250"/>
                  </a:lnTo>
                  <a:lnTo>
                    <a:pt x="261" y="250"/>
                  </a:lnTo>
                  <a:lnTo>
                    <a:pt x="266" y="250"/>
                  </a:lnTo>
                  <a:lnTo>
                    <a:pt x="266" y="255"/>
                  </a:lnTo>
                  <a:lnTo>
                    <a:pt x="261" y="255"/>
                  </a:lnTo>
                  <a:lnTo>
                    <a:pt x="255" y="255"/>
                  </a:lnTo>
                  <a:lnTo>
                    <a:pt x="249" y="255"/>
                  </a:lnTo>
                  <a:lnTo>
                    <a:pt x="238" y="261"/>
                  </a:lnTo>
                  <a:lnTo>
                    <a:pt x="238" y="267"/>
                  </a:lnTo>
                  <a:lnTo>
                    <a:pt x="232" y="278"/>
                  </a:lnTo>
                  <a:lnTo>
                    <a:pt x="232" y="284"/>
                  </a:lnTo>
                  <a:lnTo>
                    <a:pt x="227" y="284"/>
                  </a:lnTo>
                  <a:lnTo>
                    <a:pt x="221" y="289"/>
                  </a:lnTo>
                  <a:lnTo>
                    <a:pt x="210" y="295"/>
                  </a:lnTo>
                  <a:lnTo>
                    <a:pt x="198" y="295"/>
                  </a:lnTo>
                  <a:lnTo>
                    <a:pt x="187" y="295"/>
                  </a:lnTo>
                  <a:lnTo>
                    <a:pt x="181" y="295"/>
                  </a:lnTo>
                  <a:lnTo>
                    <a:pt x="170" y="289"/>
                  </a:lnTo>
                  <a:lnTo>
                    <a:pt x="164" y="289"/>
                  </a:lnTo>
                  <a:lnTo>
                    <a:pt x="147" y="295"/>
                  </a:lnTo>
                  <a:lnTo>
                    <a:pt x="136" y="295"/>
                  </a:lnTo>
                  <a:lnTo>
                    <a:pt x="130" y="295"/>
                  </a:lnTo>
                  <a:lnTo>
                    <a:pt x="125" y="295"/>
                  </a:lnTo>
                  <a:lnTo>
                    <a:pt x="119" y="295"/>
                  </a:lnTo>
                  <a:lnTo>
                    <a:pt x="113" y="301"/>
                  </a:lnTo>
                  <a:lnTo>
                    <a:pt x="113" y="306"/>
                  </a:lnTo>
                  <a:lnTo>
                    <a:pt x="119" y="312"/>
                  </a:lnTo>
                  <a:lnTo>
                    <a:pt x="119" y="318"/>
                  </a:lnTo>
                  <a:lnTo>
                    <a:pt x="113" y="329"/>
                  </a:lnTo>
                  <a:lnTo>
                    <a:pt x="108" y="335"/>
                  </a:lnTo>
                  <a:lnTo>
                    <a:pt x="96" y="340"/>
                  </a:lnTo>
                  <a:lnTo>
                    <a:pt x="96" y="352"/>
                  </a:lnTo>
                  <a:lnTo>
                    <a:pt x="85" y="352"/>
                  </a:lnTo>
                  <a:lnTo>
                    <a:pt x="74" y="346"/>
                  </a:lnTo>
                  <a:lnTo>
                    <a:pt x="68" y="340"/>
                  </a:lnTo>
                  <a:lnTo>
                    <a:pt x="57" y="340"/>
                  </a:lnTo>
                  <a:lnTo>
                    <a:pt x="45" y="340"/>
                  </a:lnTo>
                  <a:lnTo>
                    <a:pt x="40" y="340"/>
                  </a:lnTo>
                  <a:lnTo>
                    <a:pt x="28" y="346"/>
                  </a:lnTo>
                  <a:lnTo>
                    <a:pt x="23" y="352"/>
                  </a:lnTo>
                  <a:lnTo>
                    <a:pt x="17" y="357"/>
                  </a:lnTo>
                  <a:lnTo>
                    <a:pt x="6" y="35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53" name="Freeform 32"/>
            <p:cNvSpPr>
              <a:spLocks/>
            </p:cNvSpPr>
            <p:nvPr/>
          </p:nvSpPr>
          <p:spPr bwMode="gray">
            <a:xfrm>
              <a:off x="2155057" y="4426278"/>
              <a:ext cx="406696" cy="371464"/>
            </a:xfrm>
            <a:custGeom>
              <a:avLst/>
              <a:gdLst>
                <a:gd name="T0" fmla="*/ 2147483647 w 289"/>
                <a:gd name="T1" fmla="*/ 2147483647 h 278"/>
                <a:gd name="T2" fmla="*/ 2147483647 w 289"/>
                <a:gd name="T3" fmla="*/ 2147483647 h 278"/>
                <a:gd name="T4" fmla="*/ 2147483647 w 289"/>
                <a:gd name="T5" fmla="*/ 2147483647 h 278"/>
                <a:gd name="T6" fmla="*/ 2147483647 w 289"/>
                <a:gd name="T7" fmla="*/ 2147483647 h 278"/>
                <a:gd name="T8" fmla="*/ 2147483647 w 289"/>
                <a:gd name="T9" fmla="*/ 2147483647 h 278"/>
                <a:gd name="T10" fmla="*/ 2147483647 w 289"/>
                <a:gd name="T11" fmla="*/ 2147483647 h 278"/>
                <a:gd name="T12" fmla="*/ 2147483647 w 289"/>
                <a:gd name="T13" fmla="*/ 2147483647 h 278"/>
                <a:gd name="T14" fmla="*/ 2147483647 w 289"/>
                <a:gd name="T15" fmla="*/ 2147483647 h 278"/>
                <a:gd name="T16" fmla="*/ 2147483647 w 289"/>
                <a:gd name="T17" fmla="*/ 2147483647 h 278"/>
                <a:gd name="T18" fmla="*/ 2147483647 w 289"/>
                <a:gd name="T19" fmla="*/ 2147483647 h 278"/>
                <a:gd name="T20" fmla="*/ 2147483647 w 289"/>
                <a:gd name="T21" fmla="*/ 2147483647 h 278"/>
                <a:gd name="T22" fmla="*/ 2147483647 w 289"/>
                <a:gd name="T23" fmla="*/ 2147483647 h 278"/>
                <a:gd name="T24" fmla="*/ 2147483647 w 289"/>
                <a:gd name="T25" fmla="*/ 2147483647 h 278"/>
                <a:gd name="T26" fmla="*/ 2147483647 w 289"/>
                <a:gd name="T27" fmla="*/ 2147483647 h 278"/>
                <a:gd name="T28" fmla="*/ 2147483647 w 289"/>
                <a:gd name="T29" fmla="*/ 2147483647 h 278"/>
                <a:gd name="T30" fmla="*/ 2147483647 w 289"/>
                <a:gd name="T31" fmla="*/ 2147483647 h 278"/>
                <a:gd name="T32" fmla="*/ 2147483647 w 289"/>
                <a:gd name="T33" fmla="*/ 2147483647 h 278"/>
                <a:gd name="T34" fmla="*/ 0 w 289"/>
                <a:gd name="T35" fmla="*/ 2147483647 h 278"/>
                <a:gd name="T36" fmla="*/ 2147483647 w 289"/>
                <a:gd name="T37" fmla="*/ 2147483647 h 278"/>
                <a:gd name="T38" fmla="*/ 2147483647 w 289"/>
                <a:gd name="T39" fmla="*/ 2147483647 h 278"/>
                <a:gd name="T40" fmla="*/ 2147483647 w 289"/>
                <a:gd name="T41" fmla="*/ 2147483647 h 278"/>
                <a:gd name="T42" fmla="*/ 2147483647 w 289"/>
                <a:gd name="T43" fmla="*/ 2147483647 h 278"/>
                <a:gd name="T44" fmla="*/ 2147483647 w 289"/>
                <a:gd name="T45" fmla="*/ 2147483647 h 278"/>
                <a:gd name="T46" fmla="*/ 2147483647 w 289"/>
                <a:gd name="T47" fmla="*/ 2147483647 h 278"/>
                <a:gd name="T48" fmla="*/ 2147483647 w 289"/>
                <a:gd name="T49" fmla="*/ 2147483647 h 278"/>
                <a:gd name="T50" fmla="*/ 2147483647 w 289"/>
                <a:gd name="T51" fmla="*/ 2147483647 h 278"/>
                <a:gd name="T52" fmla="*/ 2147483647 w 289"/>
                <a:gd name="T53" fmla="*/ 2147483647 h 278"/>
                <a:gd name="T54" fmla="*/ 2147483647 w 289"/>
                <a:gd name="T55" fmla="*/ 2147483647 h 278"/>
                <a:gd name="T56" fmla="*/ 2147483647 w 289"/>
                <a:gd name="T57" fmla="*/ 2147483647 h 278"/>
                <a:gd name="T58" fmla="*/ 2147483647 w 289"/>
                <a:gd name="T59" fmla="*/ 2147483647 h 278"/>
                <a:gd name="T60" fmla="*/ 2147483647 w 289"/>
                <a:gd name="T61" fmla="*/ 2147483647 h 278"/>
                <a:gd name="T62" fmla="*/ 2147483647 w 289"/>
                <a:gd name="T63" fmla="*/ 2147483647 h 278"/>
                <a:gd name="T64" fmla="*/ 2147483647 w 289"/>
                <a:gd name="T65" fmla="*/ 0 h 278"/>
                <a:gd name="T66" fmla="*/ 2147483647 w 289"/>
                <a:gd name="T67" fmla="*/ 2147483647 h 278"/>
                <a:gd name="T68" fmla="*/ 2147483647 w 289"/>
                <a:gd name="T69" fmla="*/ 2147483647 h 278"/>
                <a:gd name="T70" fmla="*/ 2147483647 w 289"/>
                <a:gd name="T71" fmla="*/ 2147483647 h 278"/>
                <a:gd name="T72" fmla="*/ 2147483647 w 289"/>
                <a:gd name="T73" fmla="*/ 2147483647 h 278"/>
                <a:gd name="T74" fmla="*/ 2147483647 w 289"/>
                <a:gd name="T75" fmla="*/ 2147483647 h 278"/>
                <a:gd name="T76" fmla="*/ 2147483647 w 289"/>
                <a:gd name="T77" fmla="*/ 2147483647 h 278"/>
                <a:gd name="T78" fmla="*/ 2147483647 w 289"/>
                <a:gd name="T79" fmla="*/ 2147483647 h 278"/>
                <a:gd name="T80" fmla="*/ 2147483647 w 289"/>
                <a:gd name="T81" fmla="*/ 2147483647 h 278"/>
                <a:gd name="T82" fmla="*/ 2147483647 w 289"/>
                <a:gd name="T83" fmla="*/ 2147483647 h 278"/>
                <a:gd name="T84" fmla="*/ 2147483647 w 289"/>
                <a:gd name="T85" fmla="*/ 2147483647 h 278"/>
                <a:gd name="T86" fmla="*/ 2147483647 w 289"/>
                <a:gd name="T87" fmla="*/ 2147483647 h 278"/>
                <a:gd name="T88" fmla="*/ 2147483647 w 289"/>
                <a:gd name="T89" fmla="*/ 2147483647 h 278"/>
                <a:gd name="T90" fmla="*/ 2147483647 w 289"/>
                <a:gd name="T91" fmla="*/ 2147483647 h 278"/>
                <a:gd name="T92" fmla="*/ 2147483647 w 289"/>
                <a:gd name="T93" fmla="*/ 2147483647 h 278"/>
                <a:gd name="T94" fmla="*/ 2147483647 w 289"/>
                <a:gd name="T95" fmla="*/ 2147483647 h 278"/>
                <a:gd name="T96" fmla="*/ 2147483647 w 289"/>
                <a:gd name="T97" fmla="*/ 2147483647 h 278"/>
                <a:gd name="T98" fmla="*/ 2147483647 w 289"/>
                <a:gd name="T99" fmla="*/ 2147483647 h 27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89"/>
                <a:gd name="T151" fmla="*/ 0 h 278"/>
                <a:gd name="T152" fmla="*/ 289 w 289"/>
                <a:gd name="T153" fmla="*/ 278 h 27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89" h="278">
                  <a:moveTo>
                    <a:pt x="221" y="272"/>
                  </a:moveTo>
                  <a:lnTo>
                    <a:pt x="215" y="278"/>
                  </a:lnTo>
                  <a:lnTo>
                    <a:pt x="209" y="278"/>
                  </a:lnTo>
                  <a:lnTo>
                    <a:pt x="198" y="272"/>
                  </a:lnTo>
                  <a:lnTo>
                    <a:pt x="192" y="272"/>
                  </a:lnTo>
                  <a:lnTo>
                    <a:pt x="192" y="266"/>
                  </a:lnTo>
                  <a:lnTo>
                    <a:pt x="187" y="266"/>
                  </a:lnTo>
                  <a:lnTo>
                    <a:pt x="187" y="272"/>
                  </a:lnTo>
                  <a:lnTo>
                    <a:pt x="181" y="272"/>
                  </a:lnTo>
                  <a:lnTo>
                    <a:pt x="175" y="266"/>
                  </a:lnTo>
                  <a:lnTo>
                    <a:pt x="175" y="272"/>
                  </a:lnTo>
                  <a:lnTo>
                    <a:pt x="170" y="272"/>
                  </a:lnTo>
                  <a:lnTo>
                    <a:pt x="164" y="266"/>
                  </a:lnTo>
                  <a:lnTo>
                    <a:pt x="158" y="266"/>
                  </a:lnTo>
                  <a:lnTo>
                    <a:pt x="153" y="266"/>
                  </a:lnTo>
                  <a:lnTo>
                    <a:pt x="147" y="266"/>
                  </a:lnTo>
                  <a:lnTo>
                    <a:pt x="136" y="266"/>
                  </a:lnTo>
                  <a:lnTo>
                    <a:pt x="130" y="266"/>
                  </a:lnTo>
                  <a:lnTo>
                    <a:pt x="124" y="266"/>
                  </a:lnTo>
                  <a:lnTo>
                    <a:pt x="119" y="266"/>
                  </a:lnTo>
                  <a:lnTo>
                    <a:pt x="113" y="266"/>
                  </a:lnTo>
                  <a:lnTo>
                    <a:pt x="102" y="266"/>
                  </a:lnTo>
                  <a:lnTo>
                    <a:pt x="96" y="266"/>
                  </a:lnTo>
                  <a:lnTo>
                    <a:pt x="85" y="266"/>
                  </a:lnTo>
                  <a:lnTo>
                    <a:pt x="79" y="266"/>
                  </a:lnTo>
                  <a:lnTo>
                    <a:pt x="73" y="266"/>
                  </a:lnTo>
                  <a:lnTo>
                    <a:pt x="68" y="266"/>
                  </a:lnTo>
                  <a:lnTo>
                    <a:pt x="68" y="260"/>
                  </a:lnTo>
                  <a:lnTo>
                    <a:pt x="62" y="260"/>
                  </a:lnTo>
                  <a:lnTo>
                    <a:pt x="62" y="249"/>
                  </a:lnTo>
                  <a:lnTo>
                    <a:pt x="56" y="249"/>
                  </a:lnTo>
                  <a:lnTo>
                    <a:pt x="51" y="249"/>
                  </a:lnTo>
                  <a:lnTo>
                    <a:pt x="51" y="243"/>
                  </a:lnTo>
                  <a:lnTo>
                    <a:pt x="51" y="238"/>
                  </a:lnTo>
                  <a:lnTo>
                    <a:pt x="45" y="238"/>
                  </a:lnTo>
                  <a:lnTo>
                    <a:pt x="39" y="232"/>
                  </a:lnTo>
                  <a:lnTo>
                    <a:pt x="34" y="232"/>
                  </a:lnTo>
                  <a:lnTo>
                    <a:pt x="34" y="226"/>
                  </a:lnTo>
                  <a:lnTo>
                    <a:pt x="34" y="221"/>
                  </a:lnTo>
                  <a:lnTo>
                    <a:pt x="39" y="221"/>
                  </a:lnTo>
                  <a:lnTo>
                    <a:pt x="39" y="215"/>
                  </a:lnTo>
                  <a:lnTo>
                    <a:pt x="39" y="209"/>
                  </a:lnTo>
                  <a:lnTo>
                    <a:pt x="39" y="204"/>
                  </a:lnTo>
                  <a:lnTo>
                    <a:pt x="39" y="192"/>
                  </a:lnTo>
                  <a:lnTo>
                    <a:pt x="45" y="181"/>
                  </a:lnTo>
                  <a:lnTo>
                    <a:pt x="51" y="181"/>
                  </a:lnTo>
                  <a:lnTo>
                    <a:pt x="51" y="175"/>
                  </a:lnTo>
                  <a:lnTo>
                    <a:pt x="45" y="175"/>
                  </a:lnTo>
                  <a:lnTo>
                    <a:pt x="39" y="175"/>
                  </a:lnTo>
                  <a:lnTo>
                    <a:pt x="34" y="175"/>
                  </a:lnTo>
                  <a:lnTo>
                    <a:pt x="22" y="175"/>
                  </a:lnTo>
                  <a:lnTo>
                    <a:pt x="11" y="175"/>
                  </a:lnTo>
                  <a:lnTo>
                    <a:pt x="0" y="175"/>
                  </a:lnTo>
                  <a:lnTo>
                    <a:pt x="0" y="170"/>
                  </a:lnTo>
                  <a:lnTo>
                    <a:pt x="0" y="164"/>
                  </a:lnTo>
                  <a:lnTo>
                    <a:pt x="5" y="158"/>
                  </a:lnTo>
                  <a:lnTo>
                    <a:pt x="5" y="153"/>
                  </a:lnTo>
                  <a:lnTo>
                    <a:pt x="5" y="147"/>
                  </a:lnTo>
                  <a:lnTo>
                    <a:pt x="11" y="141"/>
                  </a:lnTo>
                  <a:lnTo>
                    <a:pt x="11" y="130"/>
                  </a:lnTo>
                  <a:lnTo>
                    <a:pt x="11" y="124"/>
                  </a:lnTo>
                  <a:lnTo>
                    <a:pt x="17" y="119"/>
                  </a:lnTo>
                  <a:lnTo>
                    <a:pt x="17" y="113"/>
                  </a:lnTo>
                  <a:lnTo>
                    <a:pt x="17" y="107"/>
                  </a:lnTo>
                  <a:lnTo>
                    <a:pt x="22" y="107"/>
                  </a:lnTo>
                  <a:lnTo>
                    <a:pt x="22" y="96"/>
                  </a:lnTo>
                  <a:lnTo>
                    <a:pt x="22" y="90"/>
                  </a:lnTo>
                  <a:lnTo>
                    <a:pt x="11" y="73"/>
                  </a:lnTo>
                  <a:lnTo>
                    <a:pt x="17" y="68"/>
                  </a:lnTo>
                  <a:lnTo>
                    <a:pt x="22" y="62"/>
                  </a:lnTo>
                  <a:lnTo>
                    <a:pt x="34" y="56"/>
                  </a:lnTo>
                  <a:lnTo>
                    <a:pt x="39" y="56"/>
                  </a:lnTo>
                  <a:lnTo>
                    <a:pt x="51" y="56"/>
                  </a:lnTo>
                  <a:lnTo>
                    <a:pt x="62" y="56"/>
                  </a:lnTo>
                  <a:lnTo>
                    <a:pt x="68" y="62"/>
                  </a:lnTo>
                  <a:lnTo>
                    <a:pt x="79" y="68"/>
                  </a:lnTo>
                  <a:lnTo>
                    <a:pt x="90" y="68"/>
                  </a:lnTo>
                  <a:lnTo>
                    <a:pt x="90" y="56"/>
                  </a:lnTo>
                  <a:lnTo>
                    <a:pt x="102" y="51"/>
                  </a:lnTo>
                  <a:lnTo>
                    <a:pt x="107" y="45"/>
                  </a:lnTo>
                  <a:lnTo>
                    <a:pt x="113" y="34"/>
                  </a:lnTo>
                  <a:lnTo>
                    <a:pt x="113" y="28"/>
                  </a:lnTo>
                  <a:lnTo>
                    <a:pt x="107" y="22"/>
                  </a:lnTo>
                  <a:lnTo>
                    <a:pt x="107" y="17"/>
                  </a:lnTo>
                  <a:lnTo>
                    <a:pt x="113" y="11"/>
                  </a:lnTo>
                  <a:lnTo>
                    <a:pt x="119" y="11"/>
                  </a:lnTo>
                  <a:lnTo>
                    <a:pt x="124" y="11"/>
                  </a:lnTo>
                  <a:lnTo>
                    <a:pt x="130" y="11"/>
                  </a:lnTo>
                  <a:lnTo>
                    <a:pt x="141" y="11"/>
                  </a:lnTo>
                  <a:lnTo>
                    <a:pt x="158" y="5"/>
                  </a:lnTo>
                  <a:lnTo>
                    <a:pt x="164" y="5"/>
                  </a:lnTo>
                  <a:lnTo>
                    <a:pt x="175" y="11"/>
                  </a:lnTo>
                  <a:lnTo>
                    <a:pt x="181" y="11"/>
                  </a:lnTo>
                  <a:lnTo>
                    <a:pt x="192" y="11"/>
                  </a:lnTo>
                  <a:lnTo>
                    <a:pt x="204" y="11"/>
                  </a:lnTo>
                  <a:lnTo>
                    <a:pt x="215" y="5"/>
                  </a:lnTo>
                  <a:lnTo>
                    <a:pt x="221" y="0"/>
                  </a:lnTo>
                  <a:lnTo>
                    <a:pt x="226" y="0"/>
                  </a:lnTo>
                  <a:lnTo>
                    <a:pt x="232" y="0"/>
                  </a:lnTo>
                  <a:lnTo>
                    <a:pt x="238" y="5"/>
                  </a:lnTo>
                  <a:lnTo>
                    <a:pt x="243" y="11"/>
                  </a:lnTo>
                  <a:lnTo>
                    <a:pt x="249" y="11"/>
                  </a:lnTo>
                  <a:lnTo>
                    <a:pt x="260" y="11"/>
                  </a:lnTo>
                  <a:lnTo>
                    <a:pt x="266" y="17"/>
                  </a:lnTo>
                  <a:lnTo>
                    <a:pt x="272" y="17"/>
                  </a:lnTo>
                  <a:lnTo>
                    <a:pt x="272" y="22"/>
                  </a:lnTo>
                  <a:lnTo>
                    <a:pt x="278" y="22"/>
                  </a:lnTo>
                  <a:lnTo>
                    <a:pt x="278" y="28"/>
                  </a:lnTo>
                  <a:lnTo>
                    <a:pt x="278" y="34"/>
                  </a:lnTo>
                  <a:lnTo>
                    <a:pt x="278" y="39"/>
                  </a:lnTo>
                  <a:lnTo>
                    <a:pt x="278" y="45"/>
                  </a:lnTo>
                  <a:lnTo>
                    <a:pt x="278" y="56"/>
                  </a:lnTo>
                  <a:lnTo>
                    <a:pt x="278" y="68"/>
                  </a:lnTo>
                  <a:lnTo>
                    <a:pt x="278" y="73"/>
                  </a:lnTo>
                  <a:lnTo>
                    <a:pt x="278" y="79"/>
                  </a:lnTo>
                  <a:lnTo>
                    <a:pt x="278" y="85"/>
                  </a:lnTo>
                  <a:lnTo>
                    <a:pt x="278" y="90"/>
                  </a:lnTo>
                  <a:lnTo>
                    <a:pt x="272" y="85"/>
                  </a:lnTo>
                  <a:lnTo>
                    <a:pt x="272" y="90"/>
                  </a:lnTo>
                  <a:lnTo>
                    <a:pt x="272" y="96"/>
                  </a:lnTo>
                  <a:lnTo>
                    <a:pt x="278" y="96"/>
                  </a:lnTo>
                  <a:lnTo>
                    <a:pt x="278" y="102"/>
                  </a:lnTo>
                  <a:lnTo>
                    <a:pt x="283" y="107"/>
                  </a:lnTo>
                  <a:lnTo>
                    <a:pt x="283" y="113"/>
                  </a:lnTo>
                  <a:lnTo>
                    <a:pt x="289" y="113"/>
                  </a:lnTo>
                  <a:lnTo>
                    <a:pt x="289" y="119"/>
                  </a:lnTo>
                  <a:lnTo>
                    <a:pt x="289" y="124"/>
                  </a:lnTo>
                  <a:lnTo>
                    <a:pt x="283" y="136"/>
                  </a:lnTo>
                  <a:lnTo>
                    <a:pt x="278" y="141"/>
                  </a:lnTo>
                  <a:lnTo>
                    <a:pt x="278" y="147"/>
                  </a:lnTo>
                  <a:lnTo>
                    <a:pt x="272" y="153"/>
                  </a:lnTo>
                  <a:lnTo>
                    <a:pt x="272" y="158"/>
                  </a:lnTo>
                  <a:lnTo>
                    <a:pt x="272" y="164"/>
                  </a:lnTo>
                  <a:lnTo>
                    <a:pt x="266" y="164"/>
                  </a:lnTo>
                  <a:lnTo>
                    <a:pt x="266" y="170"/>
                  </a:lnTo>
                  <a:lnTo>
                    <a:pt x="260" y="175"/>
                  </a:lnTo>
                  <a:lnTo>
                    <a:pt x="260" y="181"/>
                  </a:lnTo>
                  <a:lnTo>
                    <a:pt x="255" y="181"/>
                  </a:lnTo>
                  <a:lnTo>
                    <a:pt x="249" y="187"/>
                  </a:lnTo>
                  <a:lnTo>
                    <a:pt x="249" y="198"/>
                  </a:lnTo>
                  <a:lnTo>
                    <a:pt x="243" y="204"/>
                  </a:lnTo>
                  <a:lnTo>
                    <a:pt x="243" y="209"/>
                  </a:lnTo>
                  <a:lnTo>
                    <a:pt x="243" y="215"/>
                  </a:lnTo>
                  <a:lnTo>
                    <a:pt x="238" y="221"/>
                  </a:lnTo>
                  <a:lnTo>
                    <a:pt x="232" y="226"/>
                  </a:lnTo>
                  <a:lnTo>
                    <a:pt x="232" y="232"/>
                  </a:lnTo>
                  <a:lnTo>
                    <a:pt x="226" y="238"/>
                  </a:lnTo>
                  <a:lnTo>
                    <a:pt x="226" y="249"/>
                  </a:lnTo>
                  <a:lnTo>
                    <a:pt x="221" y="249"/>
                  </a:lnTo>
                  <a:lnTo>
                    <a:pt x="221" y="260"/>
                  </a:lnTo>
                  <a:lnTo>
                    <a:pt x="221" y="266"/>
                  </a:lnTo>
                  <a:lnTo>
                    <a:pt x="221" y="27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54" name="Rectangle 3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4765700" y="2608535"/>
              <a:ext cx="547438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Adamwara</a:t>
              </a:r>
            </a:p>
          </p:txBody>
        </p:sp>
        <p:sp>
          <p:nvSpPr>
            <p:cNvPr id="55" name="Rectangle 3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5297225" y="1580943"/>
              <a:ext cx="308811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Borno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56" name="Rectangle 3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814099" y="4507976"/>
              <a:ext cx="558354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Cross River</a:t>
              </a:r>
            </a:p>
          </p:txBody>
        </p:sp>
        <p:sp>
          <p:nvSpPr>
            <p:cNvPr id="57" name="Rectangle 3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646349" y="4621582"/>
              <a:ext cx="268260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Delta</a:t>
              </a:r>
            </a:p>
          </p:txBody>
        </p:sp>
        <p:sp>
          <p:nvSpPr>
            <p:cNvPr id="58" name="Rectangle 3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701378" y="4122471"/>
              <a:ext cx="191837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Edo</a:t>
              </a:r>
            </a:p>
          </p:txBody>
        </p:sp>
        <p:sp>
          <p:nvSpPr>
            <p:cNvPr id="59" name="Rectangle 3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52363" y="3041271"/>
              <a:ext cx="152845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Fct</a:t>
              </a:r>
            </a:p>
          </p:txBody>
        </p:sp>
        <p:sp>
          <p:nvSpPr>
            <p:cNvPr id="60" name="Rectangle 4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571147" y="2321321"/>
              <a:ext cx="380554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aduna</a:t>
              </a:r>
            </a:p>
          </p:txBody>
        </p:sp>
        <p:sp>
          <p:nvSpPr>
            <p:cNvPr id="61" name="Rectangle 4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783299" y="1762209"/>
              <a:ext cx="286976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ebbi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62" name="Rectangle 44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063785" y="3562084"/>
              <a:ext cx="218350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ogi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63" name="Rectangle 4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020869" y="2979997"/>
              <a:ext cx="316609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wara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64" name="Rectangle 4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455785" y="4122471"/>
              <a:ext cx="285416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Lagos</a:t>
              </a:r>
            </a:p>
          </p:txBody>
        </p:sp>
        <p:sp>
          <p:nvSpPr>
            <p:cNvPr id="65" name="Rectangle 4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422199" y="2471944"/>
              <a:ext cx="274499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Niger</a:t>
              </a:r>
            </a:p>
          </p:txBody>
        </p:sp>
        <p:sp>
          <p:nvSpPr>
            <p:cNvPr id="66" name="Rectangle 4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392700" y="3896528"/>
              <a:ext cx="272939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Ogun</a:t>
              </a:r>
            </a:p>
          </p:txBody>
        </p:sp>
        <p:sp>
          <p:nvSpPr>
            <p:cNvPr id="67" name="Rectangle 4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298717" y="3819932"/>
              <a:ext cx="279178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Ondo</a:t>
              </a:r>
            </a:p>
          </p:txBody>
        </p:sp>
        <p:sp>
          <p:nvSpPr>
            <p:cNvPr id="68" name="Rectangle 5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980605" y="3652716"/>
              <a:ext cx="262020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Osun</a:t>
              </a:r>
            </a:p>
          </p:txBody>
        </p:sp>
        <p:sp>
          <p:nvSpPr>
            <p:cNvPr id="69" name="Rectangle 5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530951" y="3204661"/>
              <a:ext cx="204315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Oyo</a:t>
              </a:r>
            </a:p>
          </p:txBody>
        </p:sp>
        <p:sp>
          <p:nvSpPr>
            <p:cNvPr id="70" name="Rectangle 52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2172508" y="4968797"/>
              <a:ext cx="305692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Rivers</a:t>
              </a:r>
            </a:p>
          </p:txBody>
        </p:sp>
        <p:sp>
          <p:nvSpPr>
            <p:cNvPr id="71" name="Rectangle 5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897395" y="3419116"/>
              <a:ext cx="347802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Taraba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2" name="Freeform 56"/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2023518" y="4739023"/>
              <a:ext cx="64427" cy="462096"/>
            </a:xfrm>
            <a:custGeom>
              <a:avLst/>
              <a:gdLst>
                <a:gd name="T0" fmla="*/ 2147483647 w 36"/>
                <a:gd name="T1" fmla="*/ 0 h 273"/>
                <a:gd name="T2" fmla="*/ 2147483647 w 36"/>
                <a:gd name="T3" fmla="*/ 2147483647 h 273"/>
                <a:gd name="T4" fmla="*/ 2147483647 w 36"/>
                <a:gd name="T5" fmla="*/ 2147483647 h 273"/>
                <a:gd name="T6" fmla="*/ 2147483647 w 36"/>
                <a:gd name="T7" fmla="*/ 2147483647 h 273"/>
                <a:gd name="T8" fmla="*/ 0 w 36"/>
                <a:gd name="T9" fmla="*/ 2147483647 h 273"/>
                <a:gd name="T10" fmla="*/ 2147483647 w 36"/>
                <a:gd name="T11" fmla="*/ 2147483647 h 273"/>
                <a:gd name="T12" fmla="*/ 2147483647 w 36"/>
                <a:gd name="T13" fmla="*/ 2147483647 h 273"/>
                <a:gd name="T14" fmla="*/ 2147483647 w 36"/>
                <a:gd name="T15" fmla="*/ 2147483647 h 273"/>
                <a:gd name="T16" fmla="*/ 2147483647 w 36"/>
                <a:gd name="T17" fmla="*/ 2147483647 h 273"/>
                <a:gd name="T18" fmla="*/ 2147483647 w 36"/>
                <a:gd name="T19" fmla="*/ 2147483647 h 27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273"/>
                <a:gd name="T32" fmla="*/ 36 w 36"/>
                <a:gd name="T33" fmla="*/ 273 h 27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273">
                  <a:moveTo>
                    <a:pt x="24" y="0"/>
                  </a:moveTo>
                  <a:lnTo>
                    <a:pt x="30" y="42"/>
                  </a:lnTo>
                  <a:lnTo>
                    <a:pt x="21" y="90"/>
                  </a:lnTo>
                  <a:lnTo>
                    <a:pt x="9" y="126"/>
                  </a:lnTo>
                  <a:lnTo>
                    <a:pt x="0" y="165"/>
                  </a:lnTo>
                  <a:lnTo>
                    <a:pt x="36" y="180"/>
                  </a:lnTo>
                  <a:lnTo>
                    <a:pt x="21" y="204"/>
                  </a:lnTo>
                  <a:lnTo>
                    <a:pt x="12" y="237"/>
                  </a:lnTo>
                  <a:lnTo>
                    <a:pt x="12" y="261"/>
                  </a:lnTo>
                  <a:lnTo>
                    <a:pt x="33" y="273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3" name="Freeform 57"/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909464" y="651649"/>
              <a:ext cx="1267068" cy="866747"/>
            </a:xfrm>
            <a:custGeom>
              <a:avLst/>
              <a:gdLst>
                <a:gd name="T0" fmla="*/ 2147483647 w 713"/>
                <a:gd name="T1" fmla="*/ 2147483647 h 513"/>
                <a:gd name="T2" fmla="*/ 2147483647 w 713"/>
                <a:gd name="T3" fmla="*/ 2147483647 h 513"/>
                <a:gd name="T4" fmla="*/ 2147483647 w 713"/>
                <a:gd name="T5" fmla="*/ 2147483647 h 513"/>
                <a:gd name="T6" fmla="*/ 2147483647 w 713"/>
                <a:gd name="T7" fmla="*/ 2147483647 h 513"/>
                <a:gd name="T8" fmla="*/ 2147483647 w 713"/>
                <a:gd name="T9" fmla="*/ 2147483647 h 513"/>
                <a:gd name="T10" fmla="*/ 2147483647 w 713"/>
                <a:gd name="T11" fmla="*/ 2147483647 h 513"/>
                <a:gd name="T12" fmla="*/ 2147483647 w 713"/>
                <a:gd name="T13" fmla="*/ 2147483647 h 513"/>
                <a:gd name="T14" fmla="*/ 2147483647 w 713"/>
                <a:gd name="T15" fmla="*/ 2147483647 h 513"/>
                <a:gd name="T16" fmla="*/ 2147483647 w 713"/>
                <a:gd name="T17" fmla="*/ 2147483647 h 513"/>
                <a:gd name="T18" fmla="*/ 2147483647 w 713"/>
                <a:gd name="T19" fmla="*/ 2147483647 h 513"/>
                <a:gd name="T20" fmla="*/ 2147483647 w 713"/>
                <a:gd name="T21" fmla="*/ 2147483647 h 513"/>
                <a:gd name="T22" fmla="*/ 2147483647 w 713"/>
                <a:gd name="T23" fmla="*/ 2147483647 h 513"/>
                <a:gd name="T24" fmla="*/ 2147483647 w 713"/>
                <a:gd name="T25" fmla="*/ 2147483647 h 513"/>
                <a:gd name="T26" fmla="*/ 2147483647 w 713"/>
                <a:gd name="T27" fmla="*/ 2147483647 h 513"/>
                <a:gd name="T28" fmla="*/ 2147483647 w 713"/>
                <a:gd name="T29" fmla="*/ 2147483647 h 513"/>
                <a:gd name="T30" fmla="*/ 2147483647 w 713"/>
                <a:gd name="T31" fmla="*/ 2147483647 h 513"/>
                <a:gd name="T32" fmla="*/ 2147483647 w 713"/>
                <a:gd name="T33" fmla="*/ 2147483647 h 513"/>
                <a:gd name="T34" fmla="*/ 2147483647 w 713"/>
                <a:gd name="T35" fmla="*/ 2147483647 h 513"/>
                <a:gd name="T36" fmla="*/ 2147483647 w 713"/>
                <a:gd name="T37" fmla="*/ 2147483647 h 513"/>
                <a:gd name="T38" fmla="*/ 2147483647 w 713"/>
                <a:gd name="T39" fmla="*/ 2147483647 h 513"/>
                <a:gd name="T40" fmla="*/ 2147483647 w 713"/>
                <a:gd name="T41" fmla="*/ 2147483647 h 513"/>
                <a:gd name="T42" fmla="*/ 2147483647 w 713"/>
                <a:gd name="T43" fmla="*/ 2147483647 h 513"/>
                <a:gd name="T44" fmla="*/ 2147483647 w 713"/>
                <a:gd name="T45" fmla="*/ 2147483647 h 513"/>
                <a:gd name="T46" fmla="*/ 2147483647 w 713"/>
                <a:gd name="T47" fmla="*/ 2147483647 h 513"/>
                <a:gd name="T48" fmla="*/ 2147483647 w 713"/>
                <a:gd name="T49" fmla="*/ 2147483647 h 513"/>
                <a:gd name="T50" fmla="*/ 2147483647 w 713"/>
                <a:gd name="T51" fmla="*/ 2147483647 h 513"/>
                <a:gd name="T52" fmla="*/ 2147483647 w 713"/>
                <a:gd name="T53" fmla="*/ 2147483647 h 513"/>
                <a:gd name="T54" fmla="*/ 2147483647 w 713"/>
                <a:gd name="T55" fmla="*/ 2147483647 h 513"/>
                <a:gd name="T56" fmla="*/ 2147483647 w 713"/>
                <a:gd name="T57" fmla="*/ 2147483647 h 513"/>
                <a:gd name="T58" fmla="*/ 2147483647 w 713"/>
                <a:gd name="T59" fmla="*/ 2147483647 h 513"/>
                <a:gd name="T60" fmla="*/ 2147483647 w 713"/>
                <a:gd name="T61" fmla="*/ 2147483647 h 513"/>
                <a:gd name="T62" fmla="*/ 2147483647 w 713"/>
                <a:gd name="T63" fmla="*/ 2147483647 h 513"/>
                <a:gd name="T64" fmla="*/ 2147483647 w 713"/>
                <a:gd name="T65" fmla="*/ 2147483647 h 513"/>
                <a:gd name="T66" fmla="*/ 2147483647 w 713"/>
                <a:gd name="T67" fmla="*/ 2147483647 h 513"/>
                <a:gd name="T68" fmla="*/ 2147483647 w 713"/>
                <a:gd name="T69" fmla="*/ 2147483647 h 513"/>
                <a:gd name="T70" fmla="*/ 2147483647 w 713"/>
                <a:gd name="T71" fmla="*/ 2147483647 h 513"/>
                <a:gd name="T72" fmla="*/ 2147483647 w 713"/>
                <a:gd name="T73" fmla="*/ 2147483647 h 513"/>
                <a:gd name="T74" fmla="*/ 2147483647 w 713"/>
                <a:gd name="T75" fmla="*/ 2147483647 h 513"/>
                <a:gd name="T76" fmla="*/ 2147483647 w 713"/>
                <a:gd name="T77" fmla="*/ 2147483647 h 513"/>
                <a:gd name="T78" fmla="*/ 2147483647 w 713"/>
                <a:gd name="T79" fmla="*/ 2147483647 h 513"/>
                <a:gd name="T80" fmla="*/ 2147483647 w 713"/>
                <a:gd name="T81" fmla="*/ 2147483647 h 513"/>
                <a:gd name="T82" fmla="*/ 2147483647 w 713"/>
                <a:gd name="T83" fmla="*/ 2147483647 h 513"/>
                <a:gd name="T84" fmla="*/ 2147483647 w 713"/>
                <a:gd name="T85" fmla="*/ 2147483647 h 513"/>
                <a:gd name="T86" fmla="*/ 2147483647 w 713"/>
                <a:gd name="T87" fmla="*/ 2147483647 h 513"/>
                <a:gd name="T88" fmla="*/ 2147483647 w 713"/>
                <a:gd name="T89" fmla="*/ 2147483647 h 513"/>
                <a:gd name="T90" fmla="*/ 2147483647 w 713"/>
                <a:gd name="T91" fmla="*/ 2147483647 h 513"/>
                <a:gd name="T92" fmla="*/ 2147483647 w 713"/>
                <a:gd name="T93" fmla="*/ 2147483647 h 513"/>
                <a:gd name="T94" fmla="*/ 2147483647 w 713"/>
                <a:gd name="T95" fmla="*/ 2147483647 h 513"/>
                <a:gd name="T96" fmla="*/ 2147483647 w 713"/>
                <a:gd name="T97" fmla="*/ 2147483647 h 513"/>
                <a:gd name="T98" fmla="*/ 2147483647 w 713"/>
                <a:gd name="T99" fmla="*/ 2147483647 h 513"/>
                <a:gd name="T100" fmla="*/ 2147483647 w 713"/>
                <a:gd name="T101" fmla="*/ 2147483647 h 513"/>
                <a:gd name="T102" fmla="*/ 2147483647 w 713"/>
                <a:gd name="T103" fmla="*/ 2147483647 h 513"/>
                <a:gd name="T104" fmla="*/ 2147483647 w 713"/>
                <a:gd name="T105" fmla="*/ 2147483647 h 513"/>
                <a:gd name="T106" fmla="*/ 2147483647 w 713"/>
                <a:gd name="T107" fmla="*/ 2147483647 h 513"/>
                <a:gd name="T108" fmla="*/ 2147483647 w 713"/>
                <a:gd name="T109" fmla="*/ 2147483647 h 513"/>
                <a:gd name="T110" fmla="*/ 2147483647 w 713"/>
                <a:gd name="T111" fmla="*/ 2147483647 h 51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13"/>
                <a:gd name="T169" fmla="*/ 0 h 513"/>
                <a:gd name="T170" fmla="*/ 713 w 713"/>
                <a:gd name="T171" fmla="*/ 513 h 51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13" h="513">
                  <a:moveTo>
                    <a:pt x="120" y="513"/>
                  </a:moveTo>
                  <a:lnTo>
                    <a:pt x="123" y="433"/>
                  </a:lnTo>
                  <a:lnTo>
                    <a:pt x="135" y="421"/>
                  </a:lnTo>
                  <a:lnTo>
                    <a:pt x="149" y="411"/>
                  </a:lnTo>
                  <a:lnTo>
                    <a:pt x="162" y="409"/>
                  </a:lnTo>
                  <a:lnTo>
                    <a:pt x="180" y="418"/>
                  </a:lnTo>
                  <a:lnTo>
                    <a:pt x="188" y="400"/>
                  </a:lnTo>
                  <a:lnTo>
                    <a:pt x="186" y="366"/>
                  </a:lnTo>
                  <a:lnTo>
                    <a:pt x="182" y="355"/>
                  </a:lnTo>
                  <a:lnTo>
                    <a:pt x="179" y="345"/>
                  </a:lnTo>
                  <a:lnTo>
                    <a:pt x="185" y="334"/>
                  </a:lnTo>
                  <a:lnTo>
                    <a:pt x="188" y="312"/>
                  </a:lnTo>
                  <a:lnTo>
                    <a:pt x="186" y="298"/>
                  </a:lnTo>
                  <a:lnTo>
                    <a:pt x="174" y="279"/>
                  </a:lnTo>
                  <a:lnTo>
                    <a:pt x="165" y="268"/>
                  </a:lnTo>
                  <a:lnTo>
                    <a:pt x="174" y="255"/>
                  </a:lnTo>
                  <a:lnTo>
                    <a:pt x="176" y="241"/>
                  </a:lnTo>
                  <a:lnTo>
                    <a:pt x="180" y="228"/>
                  </a:lnTo>
                  <a:lnTo>
                    <a:pt x="188" y="216"/>
                  </a:lnTo>
                  <a:lnTo>
                    <a:pt x="182" y="208"/>
                  </a:lnTo>
                  <a:lnTo>
                    <a:pt x="164" y="223"/>
                  </a:lnTo>
                  <a:lnTo>
                    <a:pt x="155" y="232"/>
                  </a:lnTo>
                  <a:lnTo>
                    <a:pt x="141" y="229"/>
                  </a:lnTo>
                  <a:lnTo>
                    <a:pt x="120" y="216"/>
                  </a:lnTo>
                  <a:lnTo>
                    <a:pt x="95" y="213"/>
                  </a:lnTo>
                  <a:lnTo>
                    <a:pt x="83" y="201"/>
                  </a:lnTo>
                  <a:lnTo>
                    <a:pt x="71" y="192"/>
                  </a:lnTo>
                  <a:lnTo>
                    <a:pt x="59" y="180"/>
                  </a:lnTo>
                  <a:lnTo>
                    <a:pt x="48" y="175"/>
                  </a:lnTo>
                  <a:lnTo>
                    <a:pt x="36" y="184"/>
                  </a:lnTo>
                  <a:lnTo>
                    <a:pt x="14" y="184"/>
                  </a:lnTo>
                  <a:lnTo>
                    <a:pt x="3" y="181"/>
                  </a:lnTo>
                  <a:lnTo>
                    <a:pt x="0" y="115"/>
                  </a:lnTo>
                  <a:lnTo>
                    <a:pt x="20" y="117"/>
                  </a:lnTo>
                  <a:lnTo>
                    <a:pt x="48" y="93"/>
                  </a:lnTo>
                  <a:lnTo>
                    <a:pt x="66" y="82"/>
                  </a:lnTo>
                  <a:lnTo>
                    <a:pt x="84" y="63"/>
                  </a:lnTo>
                  <a:lnTo>
                    <a:pt x="99" y="52"/>
                  </a:lnTo>
                  <a:lnTo>
                    <a:pt x="120" y="51"/>
                  </a:lnTo>
                  <a:lnTo>
                    <a:pt x="143" y="40"/>
                  </a:lnTo>
                  <a:lnTo>
                    <a:pt x="164" y="40"/>
                  </a:lnTo>
                  <a:lnTo>
                    <a:pt x="194" y="31"/>
                  </a:lnTo>
                  <a:lnTo>
                    <a:pt x="213" y="30"/>
                  </a:lnTo>
                  <a:lnTo>
                    <a:pt x="221" y="40"/>
                  </a:lnTo>
                  <a:lnTo>
                    <a:pt x="243" y="40"/>
                  </a:lnTo>
                  <a:lnTo>
                    <a:pt x="267" y="37"/>
                  </a:lnTo>
                  <a:lnTo>
                    <a:pt x="300" y="40"/>
                  </a:lnTo>
                  <a:lnTo>
                    <a:pt x="326" y="34"/>
                  </a:lnTo>
                  <a:lnTo>
                    <a:pt x="342" y="19"/>
                  </a:lnTo>
                  <a:lnTo>
                    <a:pt x="365" y="4"/>
                  </a:lnTo>
                  <a:lnTo>
                    <a:pt x="395" y="0"/>
                  </a:lnTo>
                  <a:lnTo>
                    <a:pt x="425" y="15"/>
                  </a:lnTo>
                  <a:lnTo>
                    <a:pt x="449" y="22"/>
                  </a:lnTo>
                  <a:lnTo>
                    <a:pt x="477" y="34"/>
                  </a:lnTo>
                  <a:lnTo>
                    <a:pt x="521" y="46"/>
                  </a:lnTo>
                  <a:lnTo>
                    <a:pt x="540" y="57"/>
                  </a:lnTo>
                  <a:lnTo>
                    <a:pt x="564" y="66"/>
                  </a:lnTo>
                  <a:lnTo>
                    <a:pt x="593" y="61"/>
                  </a:lnTo>
                  <a:lnTo>
                    <a:pt x="618" y="67"/>
                  </a:lnTo>
                  <a:lnTo>
                    <a:pt x="642" y="78"/>
                  </a:lnTo>
                  <a:lnTo>
                    <a:pt x="666" y="102"/>
                  </a:lnTo>
                  <a:lnTo>
                    <a:pt x="681" y="112"/>
                  </a:lnTo>
                  <a:lnTo>
                    <a:pt x="695" y="129"/>
                  </a:lnTo>
                  <a:lnTo>
                    <a:pt x="704" y="138"/>
                  </a:lnTo>
                  <a:lnTo>
                    <a:pt x="713" y="148"/>
                  </a:lnTo>
                  <a:lnTo>
                    <a:pt x="684" y="160"/>
                  </a:lnTo>
                  <a:lnTo>
                    <a:pt x="672" y="171"/>
                  </a:lnTo>
                  <a:lnTo>
                    <a:pt x="659" y="183"/>
                  </a:lnTo>
                  <a:lnTo>
                    <a:pt x="638" y="180"/>
                  </a:lnTo>
                  <a:lnTo>
                    <a:pt x="590" y="169"/>
                  </a:lnTo>
                  <a:lnTo>
                    <a:pt x="564" y="163"/>
                  </a:lnTo>
                  <a:lnTo>
                    <a:pt x="555" y="154"/>
                  </a:lnTo>
                  <a:lnTo>
                    <a:pt x="534" y="157"/>
                  </a:lnTo>
                  <a:lnTo>
                    <a:pt x="519" y="157"/>
                  </a:lnTo>
                  <a:lnTo>
                    <a:pt x="519" y="172"/>
                  </a:lnTo>
                  <a:lnTo>
                    <a:pt x="522" y="193"/>
                  </a:lnTo>
                  <a:lnTo>
                    <a:pt x="521" y="214"/>
                  </a:lnTo>
                  <a:lnTo>
                    <a:pt x="524" y="225"/>
                  </a:lnTo>
                  <a:lnTo>
                    <a:pt x="534" y="237"/>
                  </a:lnTo>
                  <a:lnTo>
                    <a:pt x="548" y="246"/>
                  </a:lnTo>
                  <a:lnTo>
                    <a:pt x="539" y="262"/>
                  </a:lnTo>
                  <a:lnTo>
                    <a:pt x="533" y="270"/>
                  </a:lnTo>
                  <a:lnTo>
                    <a:pt x="524" y="280"/>
                  </a:lnTo>
                  <a:lnTo>
                    <a:pt x="510" y="297"/>
                  </a:lnTo>
                  <a:lnTo>
                    <a:pt x="503" y="307"/>
                  </a:lnTo>
                  <a:lnTo>
                    <a:pt x="482" y="309"/>
                  </a:lnTo>
                  <a:lnTo>
                    <a:pt x="468" y="306"/>
                  </a:lnTo>
                  <a:lnTo>
                    <a:pt x="455" y="307"/>
                  </a:lnTo>
                  <a:lnTo>
                    <a:pt x="437" y="322"/>
                  </a:lnTo>
                  <a:lnTo>
                    <a:pt x="423" y="336"/>
                  </a:lnTo>
                  <a:lnTo>
                    <a:pt x="410" y="346"/>
                  </a:lnTo>
                  <a:lnTo>
                    <a:pt x="399" y="355"/>
                  </a:lnTo>
                  <a:lnTo>
                    <a:pt x="387" y="364"/>
                  </a:lnTo>
                  <a:lnTo>
                    <a:pt x="378" y="375"/>
                  </a:lnTo>
                  <a:lnTo>
                    <a:pt x="383" y="384"/>
                  </a:lnTo>
                  <a:lnTo>
                    <a:pt x="377" y="399"/>
                  </a:lnTo>
                  <a:lnTo>
                    <a:pt x="375" y="421"/>
                  </a:lnTo>
                  <a:lnTo>
                    <a:pt x="371" y="433"/>
                  </a:lnTo>
                  <a:lnTo>
                    <a:pt x="369" y="444"/>
                  </a:lnTo>
                  <a:lnTo>
                    <a:pt x="366" y="456"/>
                  </a:lnTo>
                  <a:lnTo>
                    <a:pt x="351" y="459"/>
                  </a:lnTo>
                  <a:lnTo>
                    <a:pt x="330" y="459"/>
                  </a:lnTo>
                  <a:lnTo>
                    <a:pt x="306" y="460"/>
                  </a:lnTo>
                  <a:lnTo>
                    <a:pt x="293" y="453"/>
                  </a:lnTo>
                  <a:lnTo>
                    <a:pt x="282" y="447"/>
                  </a:lnTo>
                  <a:lnTo>
                    <a:pt x="264" y="448"/>
                  </a:lnTo>
                  <a:lnTo>
                    <a:pt x="246" y="456"/>
                  </a:lnTo>
                  <a:lnTo>
                    <a:pt x="228" y="456"/>
                  </a:lnTo>
                  <a:lnTo>
                    <a:pt x="204" y="462"/>
                  </a:lnTo>
                  <a:lnTo>
                    <a:pt x="174" y="472"/>
                  </a:lnTo>
                  <a:lnTo>
                    <a:pt x="153" y="490"/>
                  </a:lnTo>
                  <a:lnTo>
                    <a:pt x="143" y="502"/>
                  </a:lnTo>
                  <a:lnTo>
                    <a:pt x="120" y="513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4" name="Freeform 59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1293343" y="3419115"/>
              <a:ext cx="479177" cy="385505"/>
            </a:xfrm>
            <a:custGeom>
              <a:avLst/>
              <a:gdLst>
                <a:gd name="T0" fmla="*/ 2147483647 w 270"/>
                <a:gd name="T1" fmla="*/ 2147483647 h 228"/>
                <a:gd name="T2" fmla="*/ 2147483647 w 270"/>
                <a:gd name="T3" fmla="*/ 2147483647 h 228"/>
                <a:gd name="T4" fmla="*/ 2147483647 w 270"/>
                <a:gd name="T5" fmla="*/ 2147483647 h 228"/>
                <a:gd name="T6" fmla="*/ 2147483647 w 270"/>
                <a:gd name="T7" fmla="*/ 2147483647 h 228"/>
                <a:gd name="T8" fmla="*/ 2147483647 w 270"/>
                <a:gd name="T9" fmla="*/ 2147483647 h 228"/>
                <a:gd name="T10" fmla="*/ 0 w 270"/>
                <a:gd name="T11" fmla="*/ 2147483647 h 228"/>
                <a:gd name="T12" fmla="*/ 2147483647 w 270"/>
                <a:gd name="T13" fmla="*/ 2147483647 h 228"/>
                <a:gd name="T14" fmla="*/ 2147483647 w 270"/>
                <a:gd name="T15" fmla="*/ 2147483647 h 228"/>
                <a:gd name="T16" fmla="*/ 2147483647 w 270"/>
                <a:gd name="T17" fmla="*/ 2147483647 h 228"/>
                <a:gd name="T18" fmla="*/ 2147483647 w 270"/>
                <a:gd name="T19" fmla="*/ 2147483647 h 228"/>
                <a:gd name="T20" fmla="*/ 2147483647 w 270"/>
                <a:gd name="T21" fmla="*/ 2147483647 h 228"/>
                <a:gd name="T22" fmla="*/ 2147483647 w 270"/>
                <a:gd name="T23" fmla="*/ 2147483647 h 228"/>
                <a:gd name="T24" fmla="*/ 2147483647 w 270"/>
                <a:gd name="T25" fmla="*/ 2147483647 h 228"/>
                <a:gd name="T26" fmla="*/ 2147483647 w 270"/>
                <a:gd name="T27" fmla="*/ 2147483647 h 228"/>
                <a:gd name="T28" fmla="*/ 2147483647 w 270"/>
                <a:gd name="T29" fmla="*/ 2147483647 h 228"/>
                <a:gd name="T30" fmla="*/ 2147483647 w 270"/>
                <a:gd name="T31" fmla="*/ 2147483647 h 228"/>
                <a:gd name="T32" fmla="*/ 2147483647 w 270"/>
                <a:gd name="T33" fmla="*/ 2147483647 h 228"/>
                <a:gd name="T34" fmla="*/ 2147483647 w 270"/>
                <a:gd name="T35" fmla="*/ 2147483647 h 228"/>
                <a:gd name="T36" fmla="*/ 2147483647 w 270"/>
                <a:gd name="T37" fmla="*/ 2147483647 h 228"/>
                <a:gd name="T38" fmla="*/ 2147483647 w 270"/>
                <a:gd name="T39" fmla="*/ 2147483647 h 228"/>
                <a:gd name="T40" fmla="*/ 2147483647 w 270"/>
                <a:gd name="T41" fmla="*/ 2147483647 h 228"/>
                <a:gd name="T42" fmla="*/ 2147483647 w 270"/>
                <a:gd name="T43" fmla="*/ 0 h 228"/>
                <a:gd name="T44" fmla="*/ 2147483647 w 270"/>
                <a:gd name="T45" fmla="*/ 2147483647 h 228"/>
                <a:gd name="T46" fmla="*/ 2147483647 w 270"/>
                <a:gd name="T47" fmla="*/ 2147483647 h 228"/>
                <a:gd name="T48" fmla="*/ 2147483647 w 270"/>
                <a:gd name="T49" fmla="*/ 2147483647 h 228"/>
                <a:gd name="T50" fmla="*/ 2147483647 w 270"/>
                <a:gd name="T51" fmla="*/ 2147483647 h 228"/>
                <a:gd name="T52" fmla="*/ 2147483647 w 270"/>
                <a:gd name="T53" fmla="*/ 2147483647 h 228"/>
                <a:gd name="T54" fmla="*/ 2147483647 w 270"/>
                <a:gd name="T55" fmla="*/ 2147483647 h 228"/>
                <a:gd name="T56" fmla="*/ 2147483647 w 270"/>
                <a:gd name="T57" fmla="*/ 2147483647 h 228"/>
                <a:gd name="T58" fmla="*/ 2147483647 w 270"/>
                <a:gd name="T59" fmla="*/ 2147483647 h 228"/>
                <a:gd name="T60" fmla="*/ 2147483647 w 270"/>
                <a:gd name="T61" fmla="*/ 2147483647 h 228"/>
                <a:gd name="T62" fmla="*/ 2147483647 w 270"/>
                <a:gd name="T63" fmla="*/ 2147483647 h 228"/>
                <a:gd name="T64" fmla="*/ 2147483647 w 270"/>
                <a:gd name="T65" fmla="*/ 2147483647 h 228"/>
                <a:gd name="T66" fmla="*/ 2147483647 w 270"/>
                <a:gd name="T67" fmla="*/ 2147483647 h 228"/>
                <a:gd name="T68" fmla="*/ 2147483647 w 270"/>
                <a:gd name="T69" fmla="*/ 2147483647 h 228"/>
                <a:gd name="T70" fmla="*/ 2147483647 w 270"/>
                <a:gd name="T71" fmla="*/ 2147483647 h 228"/>
                <a:gd name="T72" fmla="*/ 2147483647 w 270"/>
                <a:gd name="T73" fmla="*/ 2147483647 h 228"/>
                <a:gd name="T74" fmla="*/ 2147483647 w 270"/>
                <a:gd name="T75" fmla="*/ 2147483647 h 228"/>
                <a:gd name="T76" fmla="*/ 2147483647 w 270"/>
                <a:gd name="T77" fmla="*/ 2147483647 h 228"/>
                <a:gd name="T78" fmla="*/ 2147483647 w 270"/>
                <a:gd name="T79" fmla="*/ 2147483647 h 228"/>
                <a:gd name="T80" fmla="*/ 2147483647 w 270"/>
                <a:gd name="T81" fmla="*/ 2147483647 h 228"/>
                <a:gd name="T82" fmla="*/ 2147483647 w 270"/>
                <a:gd name="T83" fmla="*/ 2147483647 h 228"/>
                <a:gd name="T84" fmla="*/ 2147483647 w 270"/>
                <a:gd name="T85" fmla="*/ 2147483647 h 228"/>
                <a:gd name="T86" fmla="*/ 2147483647 w 270"/>
                <a:gd name="T87" fmla="*/ 2147483647 h 228"/>
                <a:gd name="T88" fmla="*/ 2147483647 w 270"/>
                <a:gd name="T89" fmla="*/ 2147483647 h 228"/>
                <a:gd name="T90" fmla="*/ 2147483647 w 270"/>
                <a:gd name="T91" fmla="*/ 2147483647 h 228"/>
                <a:gd name="T92" fmla="*/ 2147483647 w 270"/>
                <a:gd name="T93" fmla="*/ 2147483647 h 228"/>
                <a:gd name="T94" fmla="*/ 2147483647 w 270"/>
                <a:gd name="T95" fmla="*/ 2147483647 h 228"/>
                <a:gd name="T96" fmla="*/ 2147483647 w 270"/>
                <a:gd name="T97" fmla="*/ 2147483647 h 228"/>
                <a:gd name="T98" fmla="*/ 2147483647 w 270"/>
                <a:gd name="T99" fmla="*/ 2147483647 h 228"/>
                <a:gd name="T100" fmla="*/ 2147483647 w 270"/>
                <a:gd name="T101" fmla="*/ 2147483647 h 228"/>
                <a:gd name="T102" fmla="*/ 2147483647 w 270"/>
                <a:gd name="T103" fmla="*/ 2147483647 h 22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70"/>
                <a:gd name="T157" fmla="*/ 0 h 228"/>
                <a:gd name="T158" fmla="*/ 270 w 270"/>
                <a:gd name="T159" fmla="*/ 228 h 22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70" h="228">
                  <a:moveTo>
                    <a:pt x="14" y="204"/>
                  </a:moveTo>
                  <a:lnTo>
                    <a:pt x="17" y="193"/>
                  </a:lnTo>
                  <a:lnTo>
                    <a:pt x="6" y="184"/>
                  </a:lnTo>
                  <a:lnTo>
                    <a:pt x="6" y="168"/>
                  </a:lnTo>
                  <a:lnTo>
                    <a:pt x="6" y="153"/>
                  </a:lnTo>
                  <a:lnTo>
                    <a:pt x="0" y="132"/>
                  </a:lnTo>
                  <a:lnTo>
                    <a:pt x="5" y="112"/>
                  </a:lnTo>
                  <a:lnTo>
                    <a:pt x="5" y="93"/>
                  </a:lnTo>
                  <a:lnTo>
                    <a:pt x="5" y="76"/>
                  </a:lnTo>
                  <a:lnTo>
                    <a:pt x="9" y="55"/>
                  </a:lnTo>
                  <a:lnTo>
                    <a:pt x="23" y="42"/>
                  </a:lnTo>
                  <a:lnTo>
                    <a:pt x="36" y="34"/>
                  </a:lnTo>
                  <a:lnTo>
                    <a:pt x="47" y="24"/>
                  </a:lnTo>
                  <a:lnTo>
                    <a:pt x="65" y="19"/>
                  </a:lnTo>
                  <a:lnTo>
                    <a:pt x="75" y="15"/>
                  </a:lnTo>
                  <a:lnTo>
                    <a:pt x="89" y="24"/>
                  </a:lnTo>
                  <a:lnTo>
                    <a:pt x="101" y="33"/>
                  </a:lnTo>
                  <a:lnTo>
                    <a:pt x="120" y="34"/>
                  </a:lnTo>
                  <a:lnTo>
                    <a:pt x="131" y="31"/>
                  </a:lnTo>
                  <a:lnTo>
                    <a:pt x="135" y="18"/>
                  </a:lnTo>
                  <a:lnTo>
                    <a:pt x="144" y="1"/>
                  </a:lnTo>
                  <a:lnTo>
                    <a:pt x="162" y="0"/>
                  </a:lnTo>
                  <a:lnTo>
                    <a:pt x="177" y="7"/>
                  </a:lnTo>
                  <a:lnTo>
                    <a:pt x="177" y="27"/>
                  </a:lnTo>
                  <a:lnTo>
                    <a:pt x="189" y="25"/>
                  </a:lnTo>
                  <a:lnTo>
                    <a:pt x="209" y="18"/>
                  </a:lnTo>
                  <a:lnTo>
                    <a:pt x="215" y="28"/>
                  </a:lnTo>
                  <a:lnTo>
                    <a:pt x="201" y="45"/>
                  </a:lnTo>
                  <a:lnTo>
                    <a:pt x="201" y="61"/>
                  </a:lnTo>
                  <a:lnTo>
                    <a:pt x="210" y="75"/>
                  </a:lnTo>
                  <a:lnTo>
                    <a:pt x="225" y="82"/>
                  </a:lnTo>
                  <a:lnTo>
                    <a:pt x="245" y="87"/>
                  </a:lnTo>
                  <a:lnTo>
                    <a:pt x="252" y="96"/>
                  </a:lnTo>
                  <a:lnTo>
                    <a:pt x="270" y="91"/>
                  </a:lnTo>
                  <a:lnTo>
                    <a:pt x="266" y="103"/>
                  </a:lnTo>
                  <a:lnTo>
                    <a:pt x="252" y="115"/>
                  </a:lnTo>
                  <a:lnTo>
                    <a:pt x="246" y="123"/>
                  </a:lnTo>
                  <a:lnTo>
                    <a:pt x="233" y="135"/>
                  </a:lnTo>
                  <a:lnTo>
                    <a:pt x="212" y="138"/>
                  </a:lnTo>
                  <a:lnTo>
                    <a:pt x="206" y="159"/>
                  </a:lnTo>
                  <a:lnTo>
                    <a:pt x="204" y="175"/>
                  </a:lnTo>
                  <a:lnTo>
                    <a:pt x="197" y="186"/>
                  </a:lnTo>
                  <a:lnTo>
                    <a:pt x="180" y="196"/>
                  </a:lnTo>
                  <a:lnTo>
                    <a:pt x="164" y="208"/>
                  </a:lnTo>
                  <a:lnTo>
                    <a:pt x="141" y="205"/>
                  </a:lnTo>
                  <a:lnTo>
                    <a:pt x="114" y="195"/>
                  </a:lnTo>
                  <a:lnTo>
                    <a:pt x="90" y="207"/>
                  </a:lnTo>
                  <a:lnTo>
                    <a:pt x="72" y="217"/>
                  </a:lnTo>
                  <a:lnTo>
                    <a:pt x="51" y="228"/>
                  </a:lnTo>
                  <a:lnTo>
                    <a:pt x="39" y="223"/>
                  </a:lnTo>
                  <a:lnTo>
                    <a:pt x="26" y="210"/>
                  </a:lnTo>
                  <a:lnTo>
                    <a:pt x="14" y="20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5" name="Freeform 60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4059685" y="1910285"/>
              <a:ext cx="696620" cy="839941"/>
            </a:xfrm>
            <a:custGeom>
              <a:avLst/>
              <a:gdLst>
                <a:gd name="T0" fmla="*/ 2147483647 w 392"/>
                <a:gd name="T1" fmla="*/ 2147483647 h 497"/>
                <a:gd name="T2" fmla="*/ 2147483647 w 392"/>
                <a:gd name="T3" fmla="*/ 2147483647 h 497"/>
                <a:gd name="T4" fmla="*/ 2147483647 w 392"/>
                <a:gd name="T5" fmla="*/ 2147483647 h 497"/>
                <a:gd name="T6" fmla="*/ 2147483647 w 392"/>
                <a:gd name="T7" fmla="*/ 2147483647 h 497"/>
                <a:gd name="T8" fmla="*/ 2147483647 w 392"/>
                <a:gd name="T9" fmla="*/ 2147483647 h 497"/>
                <a:gd name="T10" fmla="*/ 2147483647 w 392"/>
                <a:gd name="T11" fmla="*/ 2147483647 h 497"/>
                <a:gd name="T12" fmla="*/ 2147483647 w 392"/>
                <a:gd name="T13" fmla="*/ 2147483647 h 497"/>
                <a:gd name="T14" fmla="*/ 2147483647 w 392"/>
                <a:gd name="T15" fmla="*/ 2147483647 h 497"/>
                <a:gd name="T16" fmla="*/ 2147483647 w 392"/>
                <a:gd name="T17" fmla="*/ 2147483647 h 497"/>
                <a:gd name="T18" fmla="*/ 2147483647 w 392"/>
                <a:gd name="T19" fmla="*/ 2147483647 h 497"/>
                <a:gd name="T20" fmla="*/ 2147483647 w 392"/>
                <a:gd name="T21" fmla="*/ 2147483647 h 497"/>
                <a:gd name="T22" fmla="*/ 2147483647 w 392"/>
                <a:gd name="T23" fmla="*/ 2147483647 h 497"/>
                <a:gd name="T24" fmla="*/ 2147483647 w 392"/>
                <a:gd name="T25" fmla="*/ 2147483647 h 497"/>
                <a:gd name="T26" fmla="*/ 2147483647 w 392"/>
                <a:gd name="T27" fmla="*/ 2147483647 h 497"/>
                <a:gd name="T28" fmla="*/ 2147483647 w 392"/>
                <a:gd name="T29" fmla="*/ 2147483647 h 497"/>
                <a:gd name="T30" fmla="*/ 2147483647 w 392"/>
                <a:gd name="T31" fmla="*/ 2147483647 h 497"/>
                <a:gd name="T32" fmla="*/ 2147483647 w 392"/>
                <a:gd name="T33" fmla="*/ 2147483647 h 497"/>
                <a:gd name="T34" fmla="*/ 2147483647 w 392"/>
                <a:gd name="T35" fmla="*/ 2147483647 h 497"/>
                <a:gd name="T36" fmla="*/ 2147483647 w 392"/>
                <a:gd name="T37" fmla="*/ 2147483647 h 497"/>
                <a:gd name="T38" fmla="*/ 2147483647 w 392"/>
                <a:gd name="T39" fmla="*/ 2147483647 h 497"/>
                <a:gd name="T40" fmla="*/ 2147483647 w 392"/>
                <a:gd name="T41" fmla="*/ 2147483647 h 497"/>
                <a:gd name="T42" fmla="*/ 2147483647 w 392"/>
                <a:gd name="T43" fmla="*/ 2147483647 h 497"/>
                <a:gd name="T44" fmla="*/ 2147483647 w 392"/>
                <a:gd name="T45" fmla="*/ 2147483647 h 497"/>
                <a:gd name="T46" fmla="*/ 2147483647 w 392"/>
                <a:gd name="T47" fmla="*/ 2147483647 h 497"/>
                <a:gd name="T48" fmla="*/ 2147483647 w 392"/>
                <a:gd name="T49" fmla="*/ 2147483647 h 497"/>
                <a:gd name="T50" fmla="*/ 2147483647 w 392"/>
                <a:gd name="T51" fmla="*/ 2147483647 h 497"/>
                <a:gd name="T52" fmla="*/ 2147483647 w 392"/>
                <a:gd name="T53" fmla="*/ 2147483647 h 497"/>
                <a:gd name="T54" fmla="*/ 0 w 392"/>
                <a:gd name="T55" fmla="*/ 2147483647 h 497"/>
                <a:gd name="T56" fmla="*/ 2147483647 w 392"/>
                <a:gd name="T57" fmla="*/ 2147483647 h 497"/>
                <a:gd name="T58" fmla="*/ 2147483647 w 392"/>
                <a:gd name="T59" fmla="*/ 2147483647 h 497"/>
                <a:gd name="T60" fmla="*/ 2147483647 w 392"/>
                <a:gd name="T61" fmla="*/ 2147483647 h 497"/>
                <a:gd name="T62" fmla="*/ 2147483647 w 392"/>
                <a:gd name="T63" fmla="*/ 2147483647 h 497"/>
                <a:gd name="T64" fmla="*/ 2147483647 w 392"/>
                <a:gd name="T65" fmla="*/ 2147483647 h 497"/>
                <a:gd name="T66" fmla="*/ 2147483647 w 392"/>
                <a:gd name="T67" fmla="*/ 2147483647 h 497"/>
                <a:gd name="T68" fmla="*/ 2147483647 w 392"/>
                <a:gd name="T69" fmla="*/ 2147483647 h 497"/>
                <a:gd name="T70" fmla="*/ 2147483647 w 392"/>
                <a:gd name="T71" fmla="*/ 2147483647 h 497"/>
                <a:gd name="T72" fmla="*/ 2147483647 w 392"/>
                <a:gd name="T73" fmla="*/ 2147483647 h 497"/>
                <a:gd name="T74" fmla="*/ 2147483647 w 392"/>
                <a:gd name="T75" fmla="*/ 2147483647 h 497"/>
                <a:gd name="T76" fmla="*/ 2147483647 w 392"/>
                <a:gd name="T77" fmla="*/ 2147483647 h 497"/>
                <a:gd name="T78" fmla="*/ 2147483647 w 392"/>
                <a:gd name="T79" fmla="*/ 2147483647 h 49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92"/>
                <a:gd name="T121" fmla="*/ 0 h 497"/>
                <a:gd name="T122" fmla="*/ 392 w 392"/>
                <a:gd name="T123" fmla="*/ 497 h 49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92" h="497">
                  <a:moveTo>
                    <a:pt x="149" y="480"/>
                  </a:moveTo>
                  <a:lnTo>
                    <a:pt x="165" y="486"/>
                  </a:lnTo>
                  <a:lnTo>
                    <a:pt x="182" y="483"/>
                  </a:lnTo>
                  <a:lnTo>
                    <a:pt x="198" y="491"/>
                  </a:lnTo>
                  <a:lnTo>
                    <a:pt x="222" y="488"/>
                  </a:lnTo>
                  <a:lnTo>
                    <a:pt x="236" y="494"/>
                  </a:lnTo>
                  <a:lnTo>
                    <a:pt x="251" y="497"/>
                  </a:lnTo>
                  <a:lnTo>
                    <a:pt x="269" y="492"/>
                  </a:lnTo>
                  <a:lnTo>
                    <a:pt x="294" y="485"/>
                  </a:lnTo>
                  <a:lnTo>
                    <a:pt x="318" y="482"/>
                  </a:lnTo>
                  <a:lnTo>
                    <a:pt x="341" y="476"/>
                  </a:lnTo>
                  <a:lnTo>
                    <a:pt x="360" y="464"/>
                  </a:lnTo>
                  <a:lnTo>
                    <a:pt x="368" y="452"/>
                  </a:lnTo>
                  <a:lnTo>
                    <a:pt x="383" y="444"/>
                  </a:lnTo>
                  <a:lnTo>
                    <a:pt x="389" y="429"/>
                  </a:lnTo>
                  <a:lnTo>
                    <a:pt x="392" y="413"/>
                  </a:lnTo>
                  <a:lnTo>
                    <a:pt x="392" y="389"/>
                  </a:lnTo>
                  <a:lnTo>
                    <a:pt x="386" y="365"/>
                  </a:lnTo>
                  <a:lnTo>
                    <a:pt x="386" y="350"/>
                  </a:lnTo>
                  <a:lnTo>
                    <a:pt x="372" y="333"/>
                  </a:lnTo>
                  <a:lnTo>
                    <a:pt x="348" y="321"/>
                  </a:lnTo>
                  <a:lnTo>
                    <a:pt x="329" y="309"/>
                  </a:lnTo>
                  <a:lnTo>
                    <a:pt x="327" y="297"/>
                  </a:lnTo>
                  <a:lnTo>
                    <a:pt x="318" y="288"/>
                  </a:lnTo>
                  <a:lnTo>
                    <a:pt x="308" y="284"/>
                  </a:lnTo>
                  <a:lnTo>
                    <a:pt x="312" y="263"/>
                  </a:lnTo>
                  <a:lnTo>
                    <a:pt x="330" y="248"/>
                  </a:lnTo>
                  <a:lnTo>
                    <a:pt x="345" y="242"/>
                  </a:lnTo>
                  <a:lnTo>
                    <a:pt x="357" y="233"/>
                  </a:lnTo>
                  <a:lnTo>
                    <a:pt x="344" y="222"/>
                  </a:lnTo>
                  <a:lnTo>
                    <a:pt x="332" y="216"/>
                  </a:lnTo>
                  <a:lnTo>
                    <a:pt x="320" y="215"/>
                  </a:lnTo>
                  <a:lnTo>
                    <a:pt x="306" y="200"/>
                  </a:lnTo>
                  <a:lnTo>
                    <a:pt x="309" y="174"/>
                  </a:lnTo>
                  <a:lnTo>
                    <a:pt x="309" y="155"/>
                  </a:lnTo>
                  <a:lnTo>
                    <a:pt x="309" y="143"/>
                  </a:lnTo>
                  <a:lnTo>
                    <a:pt x="309" y="117"/>
                  </a:lnTo>
                  <a:lnTo>
                    <a:pt x="299" y="101"/>
                  </a:lnTo>
                  <a:lnTo>
                    <a:pt x="287" y="84"/>
                  </a:lnTo>
                  <a:lnTo>
                    <a:pt x="270" y="71"/>
                  </a:lnTo>
                  <a:lnTo>
                    <a:pt x="254" y="54"/>
                  </a:lnTo>
                  <a:lnTo>
                    <a:pt x="246" y="33"/>
                  </a:lnTo>
                  <a:lnTo>
                    <a:pt x="236" y="20"/>
                  </a:lnTo>
                  <a:lnTo>
                    <a:pt x="222" y="14"/>
                  </a:lnTo>
                  <a:lnTo>
                    <a:pt x="209" y="12"/>
                  </a:lnTo>
                  <a:lnTo>
                    <a:pt x="197" y="2"/>
                  </a:lnTo>
                  <a:lnTo>
                    <a:pt x="174" y="2"/>
                  </a:lnTo>
                  <a:lnTo>
                    <a:pt x="147" y="2"/>
                  </a:lnTo>
                  <a:lnTo>
                    <a:pt x="128" y="0"/>
                  </a:lnTo>
                  <a:lnTo>
                    <a:pt x="116" y="14"/>
                  </a:lnTo>
                  <a:lnTo>
                    <a:pt x="77" y="44"/>
                  </a:lnTo>
                  <a:lnTo>
                    <a:pt x="59" y="68"/>
                  </a:lnTo>
                  <a:lnTo>
                    <a:pt x="38" y="80"/>
                  </a:lnTo>
                  <a:lnTo>
                    <a:pt x="29" y="99"/>
                  </a:lnTo>
                  <a:lnTo>
                    <a:pt x="15" y="117"/>
                  </a:lnTo>
                  <a:lnTo>
                    <a:pt x="0" y="138"/>
                  </a:lnTo>
                  <a:lnTo>
                    <a:pt x="3" y="159"/>
                  </a:lnTo>
                  <a:lnTo>
                    <a:pt x="8" y="180"/>
                  </a:lnTo>
                  <a:lnTo>
                    <a:pt x="12" y="195"/>
                  </a:lnTo>
                  <a:lnTo>
                    <a:pt x="23" y="206"/>
                  </a:lnTo>
                  <a:lnTo>
                    <a:pt x="41" y="221"/>
                  </a:lnTo>
                  <a:lnTo>
                    <a:pt x="57" y="234"/>
                  </a:lnTo>
                  <a:lnTo>
                    <a:pt x="66" y="240"/>
                  </a:lnTo>
                  <a:lnTo>
                    <a:pt x="80" y="249"/>
                  </a:lnTo>
                  <a:lnTo>
                    <a:pt x="99" y="261"/>
                  </a:lnTo>
                  <a:lnTo>
                    <a:pt x="110" y="272"/>
                  </a:lnTo>
                  <a:lnTo>
                    <a:pt x="102" y="287"/>
                  </a:lnTo>
                  <a:lnTo>
                    <a:pt x="99" y="306"/>
                  </a:lnTo>
                  <a:lnTo>
                    <a:pt x="90" y="315"/>
                  </a:lnTo>
                  <a:lnTo>
                    <a:pt x="81" y="323"/>
                  </a:lnTo>
                  <a:lnTo>
                    <a:pt x="78" y="338"/>
                  </a:lnTo>
                  <a:lnTo>
                    <a:pt x="87" y="357"/>
                  </a:lnTo>
                  <a:lnTo>
                    <a:pt x="96" y="374"/>
                  </a:lnTo>
                  <a:lnTo>
                    <a:pt x="107" y="378"/>
                  </a:lnTo>
                  <a:lnTo>
                    <a:pt x="123" y="396"/>
                  </a:lnTo>
                  <a:lnTo>
                    <a:pt x="135" y="402"/>
                  </a:lnTo>
                  <a:lnTo>
                    <a:pt x="140" y="416"/>
                  </a:lnTo>
                  <a:lnTo>
                    <a:pt x="144" y="432"/>
                  </a:lnTo>
                  <a:lnTo>
                    <a:pt x="152" y="462"/>
                  </a:lnTo>
                  <a:lnTo>
                    <a:pt x="149" y="480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148272" y="2050700"/>
              <a:ext cx="371197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Gombe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7" name="Rectangle 62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3487892" y="2923831"/>
              <a:ext cx="380554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Plateau</a:t>
              </a:r>
            </a:p>
          </p:txBody>
        </p:sp>
        <p:sp>
          <p:nvSpPr>
            <p:cNvPr id="78" name="Freeform 63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3126834" y="2344296"/>
              <a:ext cx="1048284" cy="965039"/>
            </a:xfrm>
            <a:custGeom>
              <a:avLst/>
              <a:gdLst>
                <a:gd name="T0" fmla="*/ 2147483647 w 590"/>
                <a:gd name="T1" fmla="*/ 2147483647 h 571"/>
                <a:gd name="T2" fmla="*/ 2147483647 w 590"/>
                <a:gd name="T3" fmla="*/ 2147483647 h 571"/>
                <a:gd name="T4" fmla="*/ 2147483647 w 590"/>
                <a:gd name="T5" fmla="*/ 2147483647 h 571"/>
                <a:gd name="T6" fmla="*/ 2147483647 w 590"/>
                <a:gd name="T7" fmla="*/ 2147483647 h 571"/>
                <a:gd name="T8" fmla="*/ 2147483647 w 590"/>
                <a:gd name="T9" fmla="*/ 2147483647 h 571"/>
                <a:gd name="T10" fmla="*/ 2147483647 w 590"/>
                <a:gd name="T11" fmla="*/ 2147483647 h 571"/>
                <a:gd name="T12" fmla="*/ 2147483647 w 590"/>
                <a:gd name="T13" fmla="*/ 2147483647 h 571"/>
                <a:gd name="T14" fmla="*/ 2147483647 w 590"/>
                <a:gd name="T15" fmla="*/ 2147483647 h 571"/>
                <a:gd name="T16" fmla="*/ 2147483647 w 590"/>
                <a:gd name="T17" fmla="*/ 2147483647 h 571"/>
                <a:gd name="T18" fmla="*/ 2147483647 w 590"/>
                <a:gd name="T19" fmla="*/ 2147483647 h 571"/>
                <a:gd name="T20" fmla="*/ 2147483647 w 590"/>
                <a:gd name="T21" fmla="*/ 2147483647 h 571"/>
                <a:gd name="T22" fmla="*/ 2147483647 w 590"/>
                <a:gd name="T23" fmla="*/ 0 h 571"/>
                <a:gd name="T24" fmla="*/ 2147483647 w 590"/>
                <a:gd name="T25" fmla="*/ 2147483647 h 571"/>
                <a:gd name="T26" fmla="*/ 2147483647 w 590"/>
                <a:gd name="T27" fmla="*/ 2147483647 h 571"/>
                <a:gd name="T28" fmla="*/ 2147483647 w 590"/>
                <a:gd name="T29" fmla="*/ 2147483647 h 571"/>
                <a:gd name="T30" fmla="*/ 2147483647 w 590"/>
                <a:gd name="T31" fmla="*/ 2147483647 h 571"/>
                <a:gd name="T32" fmla="*/ 2147483647 w 590"/>
                <a:gd name="T33" fmla="*/ 2147483647 h 571"/>
                <a:gd name="T34" fmla="*/ 2147483647 w 590"/>
                <a:gd name="T35" fmla="*/ 2147483647 h 571"/>
                <a:gd name="T36" fmla="*/ 2147483647 w 590"/>
                <a:gd name="T37" fmla="*/ 2147483647 h 571"/>
                <a:gd name="T38" fmla="*/ 2147483647 w 590"/>
                <a:gd name="T39" fmla="*/ 2147483647 h 571"/>
                <a:gd name="T40" fmla="*/ 2147483647 w 590"/>
                <a:gd name="T41" fmla="*/ 2147483647 h 571"/>
                <a:gd name="T42" fmla="*/ 2147483647 w 590"/>
                <a:gd name="T43" fmla="*/ 2147483647 h 571"/>
                <a:gd name="T44" fmla="*/ 2147483647 w 590"/>
                <a:gd name="T45" fmla="*/ 2147483647 h 571"/>
                <a:gd name="T46" fmla="*/ 2147483647 w 590"/>
                <a:gd name="T47" fmla="*/ 2147483647 h 571"/>
                <a:gd name="T48" fmla="*/ 2147483647 w 590"/>
                <a:gd name="T49" fmla="*/ 2147483647 h 571"/>
                <a:gd name="T50" fmla="*/ 2147483647 w 590"/>
                <a:gd name="T51" fmla="*/ 2147483647 h 571"/>
                <a:gd name="T52" fmla="*/ 2147483647 w 590"/>
                <a:gd name="T53" fmla="*/ 2147483647 h 571"/>
                <a:gd name="T54" fmla="*/ 2147483647 w 590"/>
                <a:gd name="T55" fmla="*/ 2147483647 h 571"/>
                <a:gd name="T56" fmla="*/ 2147483647 w 590"/>
                <a:gd name="T57" fmla="*/ 2147483647 h 571"/>
                <a:gd name="T58" fmla="*/ 2147483647 w 590"/>
                <a:gd name="T59" fmla="*/ 2147483647 h 571"/>
                <a:gd name="T60" fmla="*/ 2147483647 w 590"/>
                <a:gd name="T61" fmla="*/ 2147483647 h 571"/>
                <a:gd name="T62" fmla="*/ 2147483647 w 590"/>
                <a:gd name="T63" fmla="*/ 2147483647 h 571"/>
                <a:gd name="T64" fmla="*/ 2147483647 w 590"/>
                <a:gd name="T65" fmla="*/ 2147483647 h 571"/>
                <a:gd name="T66" fmla="*/ 2147483647 w 590"/>
                <a:gd name="T67" fmla="*/ 2147483647 h 571"/>
                <a:gd name="T68" fmla="*/ 2147483647 w 590"/>
                <a:gd name="T69" fmla="*/ 2147483647 h 571"/>
                <a:gd name="T70" fmla="*/ 2147483647 w 590"/>
                <a:gd name="T71" fmla="*/ 2147483647 h 571"/>
                <a:gd name="T72" fmla="*/ 2147483647 w 590"/>
                <a:gd name="T73" fmla="*/ 2147483647 h 571"/>
                <a:gd name="T74" fmla="*/ 2147483647 w 590"/>
                <a:gd name="T75" fmla="*/ 2147483647 h 571"/>
                <a:gd name="T76" fmla="*/ 2147483647 w 590"/>
                <a:gd name="T77" fmla="*/ 2147483647 h 571"/>
                <a:gd name="T78" fmla="*/ 2147483647 w 590"/>
                <a:gd name="T79" fmla="*/ 2147483647 h 571"/>
                <a:gd name="T80" fmla="*/ 2147483647 w 590"/>
                <a:gd name="T81" fmla="*/ 2147483647 h 571"/>
                <a:gd name="T82" fmla="*/ 2147483647 w 590"/>
                <a:gd name="T83" fmla="*/ 2147483647 h 571"/>
                <a:gd name="T84" fmla="*/ 2147483647 w 590"/>
                <a:gd name="T85" fmla="*/ 2147483647 h 571"/>
                <a:gd name="T86" fmla="*/ 2147483647 w 590"/>
                <a:gd name="T87" fmla="*/ 2147483647 h 571"/>
                <a:gd name="T88" fmla="*/ 2147483647 w 590"/>
                <a:gd name="T89" fmla="*/ 2147483647 h 571"/>
                <a:gd name="T90" fmla="*/ 2147483647 w 590"/>
                <a:gd name="T91" fmla="*/ 2147483647 h 571"/>
                <a:gd name="T92" fmla="*/ 2147483647 w 590"/>
                <a:gd name="T93" fmla="*/ 2147483647 h 571"/>
                <a:gd name="T94" fmla="*/ 2147483647 w 590"/>
                <a:gd name="T95" fmla="*/ 2147483647 h 571"/>
                <a:gd name="T96" fmla="*/ 2147483647 w 590"/>
                <a:gd name="T97" fmla="*/ 2147483647 h 571"/>
                <a:gd name="T98" fmla="*/ 2147483647 w 590"/>
                <a:gd name="T99" fmla="*/ 2147483647 h 571"/>
                <a:gd name="T100" fmla="*/ 2147483647 w 590"/>
                <a:gd name="T101" fmla="*/ 2147483647 h 571"/>
                <a:gd name="T102" fmla="*/ 2147483647 w 590"/>
                <a:gd name="T103" fmla="*/ 2147483647 h 571"/>
                <a:gd name="T104" fmla="*/ 2147483647 w 590"/>
                <a:gd name="T105" fmla="*/ 2147483647 h 571"/>
                <a:gd name="T106" fmla="*/ 2147483647 w 590"/>
                <a:gd name="T107" fmla="*/ 2147483647 h 571"/>
                <a:gd name="T108" fmla="*/ 2147483647 w 590"/>
                <a:gd name="T109" fmla="*/ 2147483647 h 571"/>
                <a:gd name="T110" fmla="*/ 2147483647 w 590"/>
                <a:gd name="T111" fmla="*/ 2147483647 h 571"/>
                <a:gd name="T112" fmla="*/ 2147483647 w 590"/>
                <a:gd name="T113" fmla="*/ 2147483647 h 571"/>
                <a:gd name="T114" fmla="*/ 2147483647 w 590"/>
                <a:gd name="T115" fmla="*/ 2147483647 h 57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90"/>
                <a:gd name="T175" fmla="*/ 0 h 571"/>
                <a:gd name="T176" fmla="*/ 590 w 590"/>
                <a:gd name="T177" fmla="*/ 571 h 57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90" h="571">
                  <a:moveTo>
                    <a:pt x="26" y="339"/>
                  </a:moveTo>
                  <a:lnTo>
                    <a:pt x="32" y="325"/>
                  </a:lnTo>
                  <a:lnTo>
                    <a:pt x="38" y="316"/>
                  </a:lnTo>
                  <a:lnTo>
                    <a:pt x="45" y="307"/>
                  </a:lnTo>
                  <a:lnTo>
                    <a:pt x="39" y="291"/>
                  </a:lnTo>
                  <a:lnTo>
                    <a:pt x="27" y="285"/>
                  </a:lnTo>
                  <a:lnTo>
                    <a:pt x="17" y="274"/>
                  </a:lnTo>
                  <a:lnTo>
                    <a:pt x="5" y="258"/>
                  </a:lnTo>
                  <a:lnTo>
                    <a:pt x="0" y="241"/>
                  </a:lnTo>
                  <a:lnTo>
                    <a:pt x="8" y="225"/>
                  </a:lnTo>
                  <a:lnTo>
                    <a:pt x="11" y="210"/>
                  </a:lnTo>
                  <a:lnTo>
                    <a:pt x="21" y="192"/>
                  </a:lnTo>
                  <a:lnTo>
                    <a:pt x="24" y="175"/>
                  </a:lnTo>
                  <a:lnTo>
                    <a:pt x="21" y="150"/>
                  </a:lnTo>
                  <a:lnTo>
                    <a:pt x="23" y="130"/>
                  </a:lnTo>
                  <a:lnTo>
                    <a:pt x="29" y="114"/>
                  </a:lnTo>
                  <a:lnTo>
                    <a:pt x="36" y="106"/>
                  </a:lnTo>
                  <a:lnTo>
                    <a:pt x="36" y="88"/>
                  </a:lnTo>
                  <a:lnTo>
                    <a:pt x="36" y="69"/>
                  </a:lnTo>
                  <a:lnTo>
                    <a:pt x="35" y="55"/>
                  </a:lnTo>
                  <a:lnTo>
                    <a:pt x="48" y="46"/>
                  </a:lnTo>
                  <a:lnTo>
                    <a:pt x="60" y="34"/>
                  </a:lnTo>
                  <a:lnTo>
                    <a:pt x="60" y="19"/>
                  </a:lnTo>
                  <a:lnTo>
                    <a:pt x="65" y="0"/>
                  </a:lnTo>
                  <a:lnTo>
                    <a:pt x="78" y="7"/>
                  </a:lnTo>
                  <a:lnTo>
                    <a:pt x="96" y="9"/>
                  </a:lnTo>
                  <a:lnTo>
                    <a:pt x="110" y="18"/>
                  </a:lnTo>
                  <a:lnTo>
                    <a:pt x="110" y="34"/>
                  </a:lnTo>
                  <a:lnTo>
                    <a:pt x="114" y="48"/>
                  </a:lnTo>
                  <a:lnTo>
                    <a:pt x="117" y="64"/>
                  </a:lnTo>
                  <a:lnTo>
                    <a:pt x="120" y="82"/>
                  </a:lnTo>
                  <a:lnTo>
                    <a:pt x="117" y="97"/>
                  </a:lnTo>
                  <a:lnTo>
                    <a:pt x="119" y="108"/>
                  </a:lnTo>
                  <a:lnTo>
                    <a:pt x="135" y="108"/>
                  </a:lnTo>
                  <a:lnTo>
                    <a:pt x="147" y="100"/>
                  </a:lnTo>
                  <a:lnTo>
                    <a:pt x="164" y="99"/>
                  </a:lnTo>
                  <a:lnTo>
                    <a:pt x="177" y="115"/>
                  </a:lnTo>
                  <a:lnTo>
                    <a:pt x="183" y="133"/>
                  </a:lnTo>
                  <a:lnTo>
                    <a:pt x="183" y="150"/>
                  </a:lnTo>
                  <a:lnTo>
                    <a:pt x="177" y="169"/>
                  </a:lnTo>
                  <a:lnTo>
                    <a:pt x="171" y="180"/>
                  </a:lnTo>
                  <a:lnTo>
                    <a:pt x="180" y="192"/>
                  </a:lnTo>
                  <a:lnTo>
                    <a:pt x="204" y="192"/>
                  </a:lnTo>
                  <a:lnTo>
                    <a:pt x="207" y="210"/>
                  </a:lnTo>
                  <a:lnTo>
                    <a:pt x="221" y="225"/>
                  </a:lnTo>
                  <a:lnTo>
                    <a:pt x="243" y="234"/>
                  </a:lnTo>
                  <a:lnTo>
                    <a:pt x="281" y="237"/>
                  </a:lnTo>
                  <a:lnTo>
                    <a:pt x="320" y="235"/>
                  </a:lnTo>
                  <a:lnTo>
                    <a:pt x="341" y="226"/>
                  </a:lnTo>
                  <a:lnTo>
                    <a:pt x="347" y="213"/>
                  </a:lnTo>
                  <a:lnTo>
                    <a:pt x="363" y="207"/>
                  </a:lnTo>
                  <a:lnTo>
                    <a:pt x="375" y="193"/>
                  </a:lnTo>
                  <a:lnTo>
                    <a:pt x="369" y="183"/>
                  </a:lnTo>
                  <a:lnTo>
                    <a:pt x="360" y="174"/>
                  </a:lnTo>
                  <a:lnTo>
                    <a:pt x="360" y="163"/>
                  </a:lnTo>
                  <a:lnTo>
                    <a:pt x="375" y="160"/>
                  </a:lnTo>
                  <a:lnTo>
                    <a:pt x="395" y="166"/>
                  </a:lnTo>
                  <a:lnTo>
                    <a:pt x="405" y="174"/>
                  </a:lnTo>
                  <a:lnTo>
                    <a:pt x="431" y="174"/>
                  </a:lnTo>
                  <a:lnTo>
                    <a:pt x="444" y="192"/>
                  </a:lnTo>
                  <a:lnTo>
                    <a:pt x="461" y="199"/>
                  </a:lnTo>
                  <a:lnTo>
                    <a:pt x="486" y="202"/>
                  </a:lnTo>
                  <a:lnTo>
                    <a:pt x="500" y="210"/>
                  </a:lnTo>
                  <a:lnTo>
                    <a:pt x="513" y="219"/>
                  </a:lnTo>
                  <a:lnTo>
                    <a:pt x="530" y="228"/>
                  </a:lnTo>
                  <a:lnTo>
                    <a:pt x="540" y="237"/>
                  </a:lnTo>
                  <a:lnTo>
                    <a:pt x="557" y="244"/>
                  </a:lnTo>
                  <a:lnTo>
                    <a:pt x="564" y="256"/>
                  </a:lnTo>
                  <a:lnTo>
                    <a:pt x="564" y="280"/>
                  </a:lnTo>
                  <a:lnTo>
                    <a:pt x="560" y="294"/>
                  </a:lnTo>
                  <a:lnTo>
                    <a:pt x="563" y="310"/>
                  </a:lnTo>
                  <a:lnTo>
                    <a:pt x="567" y="324"/>
                  </a:lnTo>
                  <a:lnTo>
                    <a:pt x="570" y="345"/>
                  </a:lnTo>
                  <a:lnTo>
                    <a:pt x="575" y="360"/>
                  </a:lnTo>
                  <a:lnTo>
                    <a:pt x="579" y="375"/>
                  </a:lnTo>
                  <a:lnTo>
                    <a:pt x="590" y="387"/>
                  </a:lnTo>
                  <a:lnTo>
                    <a:pt x="585" y="408"/>
                  </a:lnTo>
                  <a:lnTo>
                    <a:pt x="561" y="418"/>
                  </a:lnTo>
                  <a:lnTo>
                    <a:pt x="548" y="418"/>
                  </a:lnTo>
                  <a:lnTo>
                    <a:pt x="533" y="424"/>
                  </a:lnTo>
                  <a:lnTo>
                    <a:pt x="515" y="433"/>
                  </a:lnTo>
                  <a:lnTo>
                    <a:pt x="503" y="442"/>
                  </a:lnTo>
                  <a:lnTo>
                    <a:pt x="492" y="451"/>
                  </a:lnTo>
                  <a:lnTo>
                    <a:pt x="479" y="466"/>
                  </a:lnTo>
                  <a:lnTo>
                    <a:pt x="471" y="472"/>
                  </a:lnTo>
                  <a:lnTo>
                    <a:pt x="456" y="489"/>
                  </a:lnTo>
                  <a:lnTo>
                    <a:pt x="438" y="504"/>
                  </a:lnTo>
                  <a:lnTo>
                    <a:pt x="426" y="514"/>
                  </a:lnTo>
                  <a:lnTo>
                    <a:pt x="404" y="529"/>
                  </a:lnTo>
                  <a:lnTo>
                    <a:pt x="381" y="543"/>
                  </a:lnTo>
                  <a:lnTo>
                    <a:pt x="359" y="553"/>
                  </a:lnTo>
                  <a:lnTo>
                    <a:pt x="344" y="564"/>
                  </a:lnTo>
                  <a:lnTo>
                    <a:pt x="320" y="568"/>
                  </a:lnTo>
                  <a:lnTo>
                    <a:pt x="303" y="571"/>
                  </a:lnTo>
                  <a:lnTo>
                    <a:pt x="290" y="571"/>
                  </a:lnTo>
                  <a:lnTo>
                    <a:pt x="270" y="568"/>
                  </a:lnTo>
                  <a:lnTo>
                    <a:pt x="260" y="567"/>
                  </a:lnTo>
                  <a:lnTo>
                    <a:pt x="246" y="556"/>
                  </a:lnTo>
                  <a:lnTo>
                    <a:pt x="228" y="549"/>
                  </a:lnTo>
                  <a:lnTo>
                    <a:pt x="210" y="550"/>
                  </a:lnTo>
                  <a:lnTo>
                    <a:pt x="182" y="555"/>
                  </a:lnTo>
                  <a:lnTo>
                    <a:pt x="164" y="555"/>
                  </a:lnTo>
                  <a:lnTo>
                    <a:pt x="131" y="549"/>
                  </a:lnTo>
                  <a:lnTo>
                    <a:pt x="110" y="534"/>
                  </a:lnTo>
                  <a:lnTo>
                    <a:pt x="99" y="522"/>
                  </a:lnTo>
                  <a:lnTo>
                    <a:pt x="90" y="486"/>
                  </a:lnTo>
                  <a:lnTo>
                    <a:pt x="93" y="462"/>
                  </a:lnTo>
                  <a:lnTo>
                    <a:pt x="98" y="444"/>
                  </a:lnTo>
                  <a:lnTo>
                    <a:pt x="114" y="426"/>
                  </a:lnTo>
                  <a:lnTo>
                    <a:pt x="123" y="396"/>
                  </a:lnTo>
                  <a:lnTo>
                    <a:pt x="117" y="384"/>
                  </a:lnTo>
                  <a:lnTo>
                    <a:pt x="99" y="379"/>
                  </a:lnTo>
                  <a:lnTo>
                    <a:pt x="72" y="373"/>
                  </a:lnTo>
                  <a:lnTo>
                    <a:pt x="59" y="370"/>
                  </a:lnTo>
                  <a:lnTo>
                    <a:pt x="42" y="361"/>
                  </a:lnTo>
                  <a:lnTo>
                    <a:pt x="35" y="346"/>
                  </a:lnTo>
                  <a:lnTo>
                    <a:pt x="26" y="339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9" name="Rectangle 64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3443596" y="2792348"/>
              <a:ext cx="380554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Plateau</a:t>
              </a:r>
            </a:p>
          </p:txBody>
        </p:sp>
        <p:sp>
          <p:nvSpPr>
            <p:cNvPr id="80" name="Freeform 65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1533603" y="4728810"/>
              <a:ext cx="562396" cy="500391"/>
            </a:xfrm>
            <a:custGeom>
              <a:avLst/>
              <a:gdLst>
                <a:gd name="T0" fmla="*/ 2147483647 w 316"/>
                <a:gd name="T1" fmla="*/ 2147483647 h 296"/>
                <a:gd name="T2" fmla="*/ 2147483647 w 316"/>
                <a:gd name="T3" fmla="*/ 2147483647 h 296"/>
                <a:gd name="T4" fmla="*/ 2147483647 w 316"/>
                <a:gd name="T5" fmla="*/ 2147483647 h 296"/>
                <a:gd name="T6" fmla="*/ 2147483647 w 316"/>
                <a:gd name="T7" fmla="*/ 2147483647 h 296"/>
                <a:gd name="T8" fmla="*/ 2147483647 w 316"/>
                <a:gd name="T9" fmla="*/ 2147483647 h 296"/>
                <a:gd name="T10" fmla="*/ 2147483647 w 316"/>
                <a:gd name="T11" fmla="*/ 2147483647 h 296"/>
                <a:gd name="T12" fmla="*/ 2147483647 w 316"/>
                <a:gd name="T13" fmla="*/ 2147483647 h 296"/>
                <a:gd name="T14" fmla="*/ 2147483647 w 316"/>
                <a:gd name="T15" fmla="*/ 2147483647 h 296"/>
                <a:gd name="T16" fmla="*/ 2147483647 w 316"/>
                <a:gd name="T17" fmla="*/ 2147483647 h 296"/>
                <a:gd name="T18" fmla="*/ 2147483647 w 316"/>
                <a:gd name="T19" fmla="*/ 2147483647 h 296"/>
                <a:gd name="T20" fmla="*/ 2147483647 w 316"/>
                <a:gd name="T21" fmla="*/ 2147483647 h 296"/>
                <a:gd name="T22" fmla="*/ 2147483647 w 316"/>
                <a:gd name="T23" fmla="*/ 2147483647 h 296"/>
                <a:gd name="T24" fmla="*/ 2147483647 w 316"/>
                <a:gd name="T25" fmla="*/ 2147483647 h 296"/>
                <a:gd name="T26" fmla="*/ 0 w 316"/>
                <a:gd name="T27" fmla="*/ 2147483647 h 296"/>
                <a:gd name="T28" fmla="*/ 2147483647 w 316"/>
                <a:gd name="T29" fmla="*/ 2147483647 h 296"/>
                <a:gd name="T30" fmla="*/ 2147483647 w 316"/>
                <a:gd name="T31" fmla="*/ 2147483647 h 296"/>
                <a:gd name="T32" fmla="*/ 2147483647 w 316"/>
                <a:gd name="T33" fmla="*/ 2147483647 h 296"/>
                <a:gd name="T34" fmla="*/ 2147483647 w 316"/>
                <a:gd name="T35" fmla="*/ 2147483647 h 296"/>
                <a:gd name="T36" fmla="*/ 2147483647 w 316"/>
                <a:gd name="T37" fmla="*/ 2147483647 h 296"/>
                <a:gd name="T38" fmla="*/ 2147483647 w 316"/>
                <a:gd name="T39" fmla="*/ 2147483647 h 296"/>
                <a:gd name="T40" fmla="*/ 2147483647 w 316"/>
                <a:gd name="T41" fmla="*/ 2147483647 h 296"/>
                <a:gd name="T42" fmla="*/ 2147483647 w 316"/>
                <a:gd name="T43" fmla="*/ 2147483647 h 296"/>
                <a:gd name="T44" fmla="*/ 2147483647 w 316"/>
                <a:gd name="T45" fmla="*/ 2147483647 h 296"/>
                <a:gd name="T46" fmla="*/ 2147483647 w 316"/>
                <a:gd name="T47" fmla="*/ 2147483647 h 296"/>
                <a:gd name="T48" fmla="*/ 2147483647 w 316"/>
                <a:gd name="T49" fmla="*/ 0 h 296"/>
                <a:gd name="T50" fmla="*/ 2147483647 w 316"/>
                <a:gd name="T51" fmla="*/ 2147483647 h 296"/>
                <a:gd name="T52" fmla="*/ 2147483647 w 316"/>
                <a:gd name="T53" fmla="*/ 2147483647 h 296"/>
                <a:gd name="T54" fmla="*/ 2147483647 w 316"/>
                <a:gd name="T55" fmla="*/ 2147483647 h 296"/>
                <a:gd name="T56" fmla="*/ 2147483647 w 316"/>
                <a:gd name="T57" fmla="*/ 2147483647 h 296"/>
                <a:gd name="T58" fmla="*/ 2147483647 w 316"/>
                <a:gd name="T59" fmla="*/ 2147483647 h 296"/>
                <a:gd name="T60" fmla="*/ 2147483647 w 316"/>
                <a:gd name="T61" fmla="*/ 2147483647 h 296"/>
                <a:gd name="T62" fmla="*/ 2147483647 w 316"/>
                <a:gd name="T63" fmla="*/ 2147483647 h 296"/>
                <a:gd name="T64" fmla="*/ 2147483647 w 316"/>
                <a:gd name="T65" fmla="*/ 2147483647 h 296"/>
                <a:gd name="T66" fmla="*/ 2147483647 w 316"/>
                <a:gd name="T67" fmla="*/ 2147483647 h 29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16"/>
                <a:gd name="T103" fmla="*/ 0 h 296"/>
                <a:gd name="T104" fmla="*/ 316 w 316"/>
                <a:gd name="T105" fmla="*/ 296 h 29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16" h="296">
                  <a:moveTo>
                    <a:pt x="316" y="276"/>
                  </a:moveTo>
                  <a:lnTo>
                    <a:pt x="306" y="279"/>
                  </a:lnTo>
                  <a:lnTo>
                    <a:pt x="291" y="272"/>
                  </a:lnTo>
                  <a:lnTo>
                    <a:pt x="288" y="282"/>
                  </a:lnTo>
                  <a:lnTo>
                    <a:pt x="276" y="281"/>
                  </a:lnTo>
                  <a:lnTo>
                    <a:pt x="264" y="284"/>
                  </a:lnTo>
                  <a:lnTo>
                    <a:pt x="253" y="284"/>
                  </a:lnTo>
                  <a:lnTo>
                    <a:pt x="228" y="282"/>
                  </a:lnTo>
                  <a:lnTo>
                    <a:pt x="217" y="290"/>
                  </a:lnTo>
                  <a:lnTo>
                    <a:pt x="205" y="296"/>
                  </a:lnTo>
                  <a:lnTo>
                    <a:pt x="196" y="288"/>
                  </a:lnTo>
                  <a:lnTo>
                    <a:pt x="180" y="281"/>
                  </a:lnTo>
                  <a:lnTo>
                    <a:pt x="169" y="276"/>
                  </a:lnTo>
                  <a:lnTo>
                    <a:pt x="156" y="266"/>
                  </a:lnTo>
                  <a:lnTo>
                    <a:pt x="141" y="258"/>
                  </a:lnTo>
                  <a:lnTo>
                    <a:pt x="123" y="246"/>
                  </a:lnTo>
                  <a:lnTo>
                    <a:pt x="109" y="234"/>
                  </a:lnTo>
                  <a:lnTo>
                    <a:pt x="96" y="221"/>
                  </a:lnTo>
                  <a:lnTo>
                    <a:pt x="78" y="201"/>
                  </a:lnTo>
                  <a:lnTo>
                    <a:pt x="61" y="183"/>
                  </a:lnTo>
                  <a:lnTo>
                    <a:pt x="51" y="165"/>
                  </a:lnTo>
                  <a:lnTo>
                    <a:pt x="40" y="149"/>
                  </a:lnTo>
                  <a:lnTo>
                    <a:pt x="30" y="132"/>
                  </a:lnTo>
                  <a:lnTo>
                    <a:pt x="22" y="111"/>
                  </a:lnTo>
                  <a:lnTo>
                    <a:pt x="25" y="99"/>
                  </a:lnTo>
                  <a:lnTo>
                    <a:pt x="16" y="80"/>
                  </a:lnTo>
                  <a:lnTo>
                    <a:pt x="4" y="63"/>
                  </a:lnTo>
                  <a:lnTo>
                    <a:pt x="0" y="48"/>
                  </a:lnTo>
                  <a:lnTo>
                    <a:pt x="12" y="47"/>
                  </a:lnTo>
                  <a:lnTo>
                    <a:pt x="22" y="48"/>
                  </a:lnTo>
                  <a:lnTo>
                    <a:pt x="33" y="59"/>
                  </a:lnTo>
                  <a:lnTo>
                    <a:pt x="48" y="68"/>
                  </a:lnTo>
                  <a:lnTo>
                    <a:pt x="69" y="75"/>
                  </a:lnTo>
                  <a:lnTo>
                    <a:pt x="88" y="83"/>
                  </a:lnTo>
                  <a:lnTo>
                    <a:pt x="111" y="78"/>
                  </a:lnTo>
                  <a:lnTo>
                    <a:pt x="135" y="69"/>
                  </a:lnTo>
                  <a:lnTo>
                    <a:pt x="141" y="60"/>
                  </a:lnTo>
                  <a:lnTo>
                    <a:pt x="151" y="48"/>
                  </a:lnTo>
                  <a:lnTo>
                    <a:pt x="165" y="42"/>
                  </a:lnTo>
                  <a:lnTo>
                    <a:pt x="178" y="56"/>
                  </a:lnTo>
                  <a:lnTo>
                    <a:pt x="199" y="44"/>
                  </a:lnTo>
                  <a:lnTo>
                    <a:pt x="214" y="48"/>
                  </a:lnTo>
                  <a:lnTo>
                    <a:pt x="223" y="44"/>
                  </a:lnTo>
                  <a:lnTo>
                    <a:pt x="229" y="30"/>
                  </a:lnTo>
                  <a:lnTo>
                    <a:pt x="232" y="18"/>
                  </a:lnTo>
                  <a:lnTo>
                    <a:pt x="247" y="23"/>
                  </a:lnTo>
                  <a:lnTo>
                    <a:pt x="256" y="15"/>
                  </a:lnTo>
                  <a:lnTo>
                    <a:pt x="273" y="6"/>
                  </a:lnTo>
                  <a:lnTo>
                    <a:pt x="286" y="6"/>
                  </a:lnTo>
                  <a:lnTo>
                    <a:pt x="303" y="0"/>
                  </a:lnTo>
                  <a:lnTo>
                    <a:pt x="310" y="15"/>
                  </a:lnTo>
                  <a:lnTo>
                    <a:pt x="312" y="32"/>
                  </a:lnTo>
                  <a:lnTo>
                    <a:pt x="306" y="51"/>
                  </a:lnTo>
                  <a:lnTo>
                    <a:pt x="304" y="71"/>
                  </a:lnTo>
                  <a:lnTo>
                    <a:pt x="295" y="93"/>
                  </a:lnTo>
                  <a:lnTo>
                    <a:pt x="292" y="114"/>
                  </a:lnTo>
                  <a:lnTo>
                    <a:pt x="285" y="132"/>
                  </a:lnTo>
                  <a:lnTo>
                    <a:pt x="283" y="150"/>
                  </a:lnTo>
                  <a:lnTo>
                    <a:pt x="277" y="164"/>
                  </a:lnTo>
                  <a:lnTo>
                    <a:pt x="291" y="167"/>
                  </a:lnTo>
                  <a:lnTo>
                    <a:pt x="304" y="176"/>
                  </a:lnTo>
                  <a:lnTo>
                    <a:pt x="315" y="182"/>
                  </a:lnTo>
                  <a:lnTo>
                    <a:pt x="306" y="197"/>
                  </a:lnTo>
                  <a:lnTo>
                    <a:pt x="297" y="221"/>
                  </a:lnTo>
                  <a:lnTo>
                    <a:pt x="294" y="240"/>
                  </a:lnTo>
                  <a:lnTo>
                    <a:pt x="297" y="255"/>
                  </a:lnTo>
                  <a:lnTo>
                    <a:pt x="301" y="266"/>
                  </a:lnTo>
                  <a:lnTo>
                    <a:pt x="316" y="2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81" name="Rectangle 66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1643667" y="4968799"/>
              <a:ext cx="382114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Bayelsa</a:t>
              </a:r>
            </a:p>
          </p:txBody>
        </p:sp>
        <p:sp>
          <p:nvSpPr>
            <p:cNvPr id="82" name="Freeform 67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2689266" y="4054815"/>
              <a:ext cx="421461" cy="389334"/>
            </a:xfrm>
            <a:custGeom>
              <a:avLst/>
              <a:gdLst>
                <a:gd name="T0" fmla="*/ 2147483647 w 237"/>
                <a:gd name="T1" fmla="*/ 2147483647 h 230"/>
                <a:gd name="T2" fmla="*/ 2147483647 w 237"/>
                <a:gd name="T3" fmla="*/ 2147483647 h 230"/>
                <a:gd name="T4" fmla="*/ 0 w 237"/>
                <a:gd name="T5" fmla="*/ 2147483647 h 230"/>
                <a:gd name="T6" fmla="*/ 2147483647 w 237"/>
                <a:gd name="T7" fmla="*/ 2147483647 h 230"/>
                <a:gd name="T8" fmla="*/ 2147483647 w 237"/>
                <a:gd name="T9" fmla="*/ 2147483647 h 230"/>
                <a:gd name="T10" fmla="*/ 2147483647 w 237"/>
                <a:gd name="T11" fmla="*/ 2147483647 h 230"/>
                <a:gd name="T12" fmla="*/ 2147483647 w 237"/>
                <a:gd name="T13" fmla="*/ 2147483647 h 230"/>
                <a:gd name="T14" fmla="*/ 2147483647 w 237"/>
                <a:gd name="T15" fmla="*/ 2147483647 h 230"/>
                <a:gd name="T16" fmla="*/ 2147483647 w 237"/>
                <a:gd name="T17" fmla="*/ 2147483647 h 230"/>
                <a:gd name="T18" fmla="*/ 2147483647 w 237"/>
                <a:gd name="T19" fmla="*/ 2147483647 h 230"/>
                <a:gd name="T20" fmla="*/ 2147483647 w 237"/>
                <a:gd name="T21" fmla="*/ 2147483647 h 230"/>
                <a:gd name="T22" fmla="*/ 2147483647 w 237"/>
                <a:gd name="T23" fmla="*/ 2147483647 h 230"/>
                <a:gd name="T24" fmla="*/ 2147483647 w 237"/>
                <a:gd name="T25" fmla="*/ 2147483647 h 230"/>
                <a:gd name="T26" fmla="*/ 2147483647 w 237"/>
                <a:gd name="T27" fmla="*/ 2147483647 h 230"/>
                <a:gd name="T28" fmla="*/ 2147483647 w 237"/>
                <a:gd name="T29" fmla="*/ 2147483647 h 230"/>
                <a:gd name="T30" fmla="*/ 2147483647 w 237"/>
                <a:gd name="T31" fmla="*/ 2147483647 h 230"/>
                <a:gd name="T32" fmla="*/ 2147483647 w 237"/>
                <a:gd name="T33" fmla="*/ 0 h 230"/>
                <a:gd name="T34" fmla="*/ 2147483647 w 237"/>
                <a:gd name="T35" fmla="*/ 2147483647 h 230"/>
                <a:gd name="T36" fmla="*/ 2147483647 w 237"/>
                <a:gd name="T37" fmla="*/ 2147483647 h 230"/>
                <a:gd name="T38" fmla="*/ 2147483647 w 237"/>
                <a:gd name="T39" fmla="*/ 2147483647 h 230"/>
                <a:gd name="T40" fmla="*/ 2147483647 w 237"/>
                <a:gd name="T41" fmla="*/ 2147483647 h 230"/>
                <a:gd name="T42" fmla="*/ 2147483647 w 237"/>
                <a:gd name="T43" fmla="*/ 2147483647 h 230"/>
                <a:gd name="T44" fmla="*/ 2147483647 w 237"/>
                <a:gd name="T45" fmla="*/ 2147483647 h 230"/>
                <a:gd name="T46" fmla="*/ 2147483647 w 237"/>
                <a:gd name="T47" fmla="*/ 2147483647 h 230"/>
                <a:gd name="T48" fmla="*/ 2147483647 w 237"/>
                <a:gd name="T49" fmla="*/ 2147483647 h 230"/>
                <a:gd name="T50" fmla="*/ 2147483647 w 237"/>
                <a:gd name="T51" fmla="*/ 2147483647 h 230"/>
                <a:gd name="T52" fmla="*/ 2147483647 w 237"/>
                <a:gd name="T53" fmla="*/ 2147483647 h 230"/>
                <a:gd name="T54" fmla="*/ 2147483647 w 237"/>
                <a:gd name="T55" fmla="*/ 2147483647 h 230"/>
                <a:gd name="T56" fmla="*/ 2147483647 w 237"/>
                <a:gd name="T57" fmla="*/ 2147483647 h 230"/>
                <a:gd name="T58" fmla="*/ 2147483647 w 237"/>
                <a:gd name="T59" fmla="*/ 2147483647 h 230"/>
                <a:gd name="T60" fmla="*/ 2147483647 w 237"/>
                <a:gd name="T61" fmla="*/ 2147483647 h 230"/>
                <a:gd name="T62" fmla="*/ 2147483647 w 237"/>
                <a:gd name="T63" fmla="*/ 2147483647 h 230"/>
                <a:gd name="T64" fmla="*/ 2147483647 w 237"/>
                <a:gd name="T65" fmla="*/ 2147483647 h 230"/>
                <a:gd name="T66" fmla="*/ 2147483647 w 237"/>
                <a:gd name="T67" fmla="*/ 2147483647 h 230"/>
                <a:gd name="T68" fmla="*/ 2147483647 w 237"/>
                <a:gd name="T69" fmla="*/ 2147483647 h 230"/>
                <a:gd name="T70" fmla="*/ 2147483647 w 237"/>
                <a:gd name="T71" fmla="*/ 2147483647 h 230"/>
                <a:gd name="T72" fmla="*/ 2147483647 w 237"/>
                <a:gd name="T73" fmla="*/ 2147483647 h 230"/>
                <a:gd name="T74" fmla="*/ 2147483647 w 237"/>
                <a:gd name="T75" fmla="*/ 2147483647 h 230"/>
                <a:gd name="T76" fmla="*/ 2147483647 w 237"/>
                <a:gd name="T77" fmla="*/ 2147483647 h 230"/>
                <a:gd name="T78" fmla="*/ 2147483647 w 237"/>
                <a:gd name="T79" fmla="*/ 2147483647 h 230"/>
                <a:gd name="T80" fmla="*/ 2147483647 w 237"/>
                <a:gd name="T81" fmla="*/ 2147483647 h 230"/>
                <a:gd name="T82" fmla="*/ 2147483647 w 237"/>
                <a:gd name="T83" fmla="*/ 2147483647 h 230"/>
                <a:gd name="T84" fmla="*/ 2147483647 w 237"/>
                <a:gd name="T85" fmla="*/ 2147483647 h 230"/>
                <a:gd name="T86" fmla="*/ 2147483647 w 237"/>
                <a:gd name="T87" fmla="*/ 2147483647 h 230"/>
                <a:gd name="T88" fmla="*/ 2147483647 w 237"/>
                <a:gd name="T89" fmla="*/ 2147483647 h 230"/>
                <a:gd name="T90" fmla="*/ 2147483647 w 237"/>
                <a:gd name="T91" fmla="*/ 2147483647 h 2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37"/>
                <a:gd name="T139" fmla="*/ 0 h 230"/>
                <a:gd name="T140" fmla="*/ 237 w 237"/>
                <a:gd name="T141" fmla="*/ 230 h 23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37" h="230">
                  <a:moveTo>
                    <a:pt x="14" y="159"/>
                  </a:moveTo>
                  <a:lnTo>
                    <a:pt x="2" y="147"/>
                  </a:lnTo>
                  <a:lnTo>
                    <a:pt x="0" y="125"/>
                  </a:lnTo>
                  <a:lnTo>
                    <a:pt x="3" y="105"/>
                  </a:lnTo>
                  <a:lnTo>
                    <a:pt x="8" y="84"/>
                  </a:lnTo>
                  <a:lnTo>
                    <a:pt x="17" y="71"/>
                  </a:lnTo>
                  <a:lnTo>
                    <a:pt x="33" y="59"/>
                  </a:lnTo>
                  <a:lnTo>
                    <a:pt x="50" y="48"/>
                  </a:lnTo>
                  <a:lnTo>
                    <a:pt x="60" y="54"/>
                  </a:lnTo>
                  <a:lnTo>
                    <a:pt x="68" y="71"/>
                  </a:lnTo>
                  <a:lnTo>
                    <a:pt x="83" y="60"/>
                  </a:lnTo>
                  <a:lnTo>
                    <a:pt x="81" y="45"/>
                  </a:lnTo>
                  <a:lnTo>
                    <a:pt x="86" y="27"/>
                  </a:lnTo>
                  <a:lnTo>
                    <a:pt x="98" y="17"/>
                  </a:lnTo>
                  <a:lnTo>
                    <a:pt x="119" y="17"/>
                  </a:lnTo>
                  <a:lnTo>
                    <a:pt x="132" y="8"/>
                  </a:lnTo>
                  <a:lnTo>
                    <a:pt x="149" y="0"/>
                  </a:lnTo>
                  <a:lnTo>
                    <a:pt x="161" y="3"/>
                  </a:lnTo>
                  <a:lnTo>
                    <a:pt x="174" y="21"/>
                  </a:lnTo>
                  <a:lnTo>
                    <a:pt x="189" y="45"/>
                  </a:lnTo>
                  <a:lnTo>
                    <a:pt x="198" y="56"/>
                  </a:lnTo>
                  <a:lnTo>
                    <a:pt x="213" y="74"/>
                  </a:lnTo>
                  <a:lnTo>
                    <a:pt x="222" y="96"/>
                  </a:lnTo>
                  <a:lnTo>
                    <a:pt x="225" y="111"/>
                  </a:lnTo>
                  <a:lnTo>
                    <a:pt x="237" y="120"/>
                  </a:lnTo>
                  <a:lnTo>
                    <a:pt x="228" y="131"/>
                  </a:lnTo>
                  <a:lnTo>
                    <a:pt x="207" y="132"/>
                  </a:lnTo>
                  <a:lnTo>
                    <a:pt x="197" y="146"/>
                  </a:lnTo>
                  <a:lnTo>
                    <a:pt x="182" y="162"/>
                  </a:lnTo>
                  <a:lnTo>
                    <a:pt x="173" y="174"/>
                  </a:lnTo>
                  <a:lnTo>
                    <a:pt x="173" y="185"/>
                  </a:lnTo>
                  <a:lnTo>
                    <a:pt x="174" y="203"/>
                  </a:lnTo>
                  <a:lnTo>
                    <a:pt x="164" y="215"/>
                  </a:lnTo>
                  <a:lnTo>
                    <a:pt x="150" y="207"/>
                  </a:lnTo>
                  <a:lnTo>
                    <a:pt x="137" y="221"/>
                  </a:lnTo>
                  <a:lnTo>
                    <a:pt x="128" y="230"/>
                  </a:lnTo>
                  <a:lnTo>
                    <a:pt x="113" y="224"/>
                  </a:lnTo>
                  <a:lnTo>
                    <a:pt x="99" y="210"/>
                  </a:lnTo>
                  <a:lnTo>
                    <a:pt x="84" y="207"/>
                  </a:lnTo>
                  <a:lnTo>
                    <a:pt x="77" y="195"/>
                  </a:lnTo>
                  <a:lnTo>
                    <a:pt x="68" y="182"/>
                  </a:lnTo>
                  <a:lnTo>
                    <a:pt x="57" y="165"/>
                  </a:lnTo>
                  <a:lnTo>
                    <a:pt x="44" y="156"/>
                  </a:lnTo>
                  <a:lnTo>
                    <a:pt x="36" y="150"/>
                  </a:lnTo>
                  <a:lnTo>
                    <a:pt x="20" y="144"/>
                  </a:lnTo>
                  <a:lnTo>
                    <a:pt x="14" y="15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83" name="Rectangle 68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2411421" y="4058643"/>
              <a:ext cx="316609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Enugu</a:t>
              </a:r>
            </a:p>
          </p:txBody>
        </p:sp>
        <p:sp>
          <p:nvSpPr>
            <p:cNvPr id="84" name="Rectangle 69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2261091" y="4612646"/>
              <a:ext cx="196515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Imo</a:t>
              </a:r>
            </a:p>
          </p:txBody>
        </p:sp>
        <p:sp>
          <p:nvSpPr>
            <p:cNvPr id="85" name="Rectangle 70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2592625" y="4908796"/>
              <a:ext cx="534960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Akwalbom</a:t>
              </a:r>
            </a:p>
          </p:txBody>
        </p:sp>
        <p:sp>
          <p:nvSpPr>
            <p:cNvPr id="86" name="Rectangle 77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3714728" y="2184738"/>
              <a:ext cx="340004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Bauchi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87" name="Rectangle 78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2576523" y="3242960"/>
              <a:ext cx="547438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Nassarawa</a:t>
              </a:r>
            </a:p>
          </p:txBody>
        </p:sp>
        <p:sp>
          <p:nvSpPr>
            <p:cNvPr id="88" name="Rectangle 79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3070459" y="3766325"/>
              <a:ext cx="324407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Benue</a:t>
              </a:r>
            </a:p>
          </p:txBody>
        </p:sp>
        <p:sp>
          <p:nvSpPr>
            <p:cNvPr id="89" name="Rectangle 80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2118818" y="4348413"/>
              <a:ext cx="464775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Anambra</a:t>
              </a:r>
            </a:p>
          </p:txBody>
        </p:sp>
        <p:sp>
          <p:nvSpPr>
            <p:cNvPr id="90" name="Rectangle 81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2533563" y="4560311"/>
              <a:ext cx="224589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Abia</a:t>
              </a:r>
            </a:p>
          </p:txBody>
        </p:sp>
        <p:sp>
          <p:nvSpPr>
            <p:cNvPr id="91" name="Rectangle 82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2752349" y="4185018"/>
              <a:ext cx="341563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Ebonyi</a:t>
              </a:r>
            </a:p>
          </p:txBody>
        </p:sp>
        <p:sp>
          <p:nvSpPr>
            <p:cNvPr id="92" name="Rectangle 83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1394014" y="3549324"/>
              <a:ext cx="215231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Ekiti</a:t>
              </a:r>
            </a:p>
          </p:txBody>
        </p:sp>
        <p:sp>
          <p:nvSpPr>
            <p:cNvPr id="93" name="Rectangle 39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3567085" y="1307773"/>
              <a:ext cx="335325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Jigawa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94" name="Rectangle 41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3012743" y="1639669"/>
              <a:ext cx="255782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ano</a:t>
              </a:r>
            </a:p>
          </p:txBody>
        </p:sp>
        <p:sp>
          <p:nvSpPr>
            <p:cNvPr id="95" name="Rectangle 42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2404451" y="1089647"/>
              <a:ext cx="368077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atsina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96" name="Rectangle 53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1650381" y="1309046"/>
              <a:ext cx="416426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Zamfara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97" name="Rectangle 55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4405980" y="1361384"/>
              <a:ext cx="254223" cy="14972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Yobe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98" name="Rectangle 58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1301395" y="955459"/>
              <a:ext cx="352481" cy="149726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Sokoto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99" name="Freeform 6"/>
            <p:cNvSpPr>
              <a:spLocks/>
            </p:cNvSpPr>
            <p:nvPr/>
          </p:nvSpPr>
          <p:spPr bwMode="gray">
            <a:xfrm>
              <a:off x="1900033" y="1794122"/>
              <a:ext cx="1338206" cy="1194810"/>
            </a:xfrm>
            <a:custGeom>
              <a:avLst/>
              <a:gdLst>
                <a:gd name="T0" fmla="*/ 2147483647 w 953"/>
                <a:gd name="T1" fmla="*/ 2147483647 h 896"/>
                <a:gd name="T2" fmla="*/ 2147483647 w 953"/>
                <a:gd name="T3" fmla="*/ 2147483647 h 896"/>
                <a:gd name="T4" fmla="*/ 2147483647 w 953"/>
                <a:gd name="T5" fmla="*/ 2147483647 h 896"/>
                <a:gd name="T6" fmla="*/ 2147483647 w 953"/>
                <a:gd name="T7" fmla="*/ 2147483647 h 896"/>
                <a:gd name="T8" fmla="*/ 2147483647 w 953"/>
                <a:gd name="T9" fmla="*/ 2147483647 h 896"/>
                <a:gd name="T10" fmla="*/ 2147483647 w 953"/>
                <a:gd name="T11" fmla="*/ 2147483647 h 896"/>
                <a:gd name="T12" fmla="*/ 2147483647 w 953"/>
                <a:gd name="T13" fmla="*/ 2147483647 h 896"/>
                <a:gd name="T14" fmla="*/ 2147483647 w 953"/>
                <a:gd name="T15" fmla="*/ 2147483647 h 896"/>
                <a:gd name="T16" fmla="*/ 2147483647 w 953"/>
                <a:gd name="T17" fmla="*/ 2147483647 h 896"/>
                <a:gd name="T18" fmla="*/ 2147483647 w 953"/>
                <a:gd name="T19" fmla="*/ 2147483647 h 896"/>
                <a:gd name="T20" fmla="*/ 2147483647 w 953"/>
                <a:gd name="T21" fmla="*/ 2147483647 h 896"/>
                <a:gd name="T22" fmla="*/ 2147483647 w 953"/>
                <a:gd name="T23" fmla="*/ 2147483647 h 896"/>
                <a:gd name="T24" fmla="*/ 2147483647 w 953"/>
                <a:gd name="T25" fmla="*/ 2147483647 h 896"/>
                <a:gd name="T26" fmla="*/ 2147483647 w 953"/>
                <a:gd name="T27" fmla="*/ 2147483647 h 896"/>
                <a:gd name="T28" fmla="*/ 2147483647 w 953"/>
                <a:gd name="T29" fmla="*/ 2147483647 h 896"/>
                <a:gd name="T30" fmla="*/ 2147483647 w 953"/>
                <a:gd name="T31" fmla="*/ 2147483647 h 896"/>
                <a:gd name="T32" fmla="*/ 2147483647 w 953"/>
                <a:gd name="T33" fmla="*/ 2147483647 h 896"/>
                <a:gd name="T34" fmla="*/ 2147483647 w 953"/>
                <a:gd name="T35" fmla="*/ 2147483647 h 896"/>
                <a:gd name="T36" fmla="*/ 2147483647 w 953"/>
                <a:gd name="T37" fmla="*/ 2147483647 h 896"/>
                <a:gd name="T38" fmla="*/ 2147483647 w 953"/>
                <a:gd name="T39" fmla="*/ 2147483647 h 896"/>
                <a:gd name="T40" fmla="*/ 0 w 953"/>
                <a:gd name="T41" fmla="*/ 2147483647 h 896"/>
                <a:gd name="T42" fmla="*/ 2147483647 w 953"/>
                <a:gd name="T43" fmla="*/ 2147483647 h 896"/>
                <a:gd name="T44" fmla="*/ 2147483647 w 953"/>
                <a:gd name="T45" fmla="*/ 2147483647 h 896"/>
                <a:gd name="T46" fmla="*/ 2147483647 w 953"/>
                <a:gd name="T47" fmla="*/ 2147483647 h 896"/>
                <a:gd name="T48" fmla="*/ 2147483647 w 953"/>
                <a:gd name="T49" fmla="*/ 2147483647 h 896"/>
                <a:gd name="T50" fmla="*/ 2147483647 w 953"/>
                <a:gd name="T51" fmla="*/ 2147483647 h 896"/>
                <a:gd name="T52" fmla="*/ 2147483647 w 953"/>
                <a:gd name="T53" fmla="*/ 2147483647 h 896"/>
                <a:gd name="T54" fmla="*/ 2147483647 w 953"/>
                <a:gd name="T55" fmla="*/ 2147483647 h 896"/>
                <a:gd name="T56" fmla="*/ 2147483647 w 953"/>
                <a:gd name="T57" fmla="*/ 2147483647 h 896"/>
                <a:gd name="T58" fmla="*/ 2147483647 w 953"/>
                <a:gd name="T59" fmla="*/ 2147483647 h 896"/>
                <a:gd name="T60" fmla="*/ 2147483647 w 953"/>
                <a:gd name="T61" fmla="*/ 2147483647 h 896"/>
                <a:gd name="T62" fmla="*/ 2147483647 w 953"/>
                <a:gd name="T63" fmla="*/ 2147483647 h 896"/>
                <a:gd name="T64" fmla="*/ 2147483647 w 953"/>
                <a:gd name="T65" fmla="*/ 2147483647 h 896"/>
                <a:gd name="T66" fmla="*/ 2147483647 w 953"/>
                <a:gd name="T67" fmla="*/ 2147483647 h 896"/>
                <a:gd name="T68" fmla="*/ 2147483647 w 953"/>
                <a:gd name="T69" fmla="*/ 2147483647 h 896"/>
                <a:gd name="T70" fmla="*/ 2147483647 w 953"/>
                <a:gd name="T71" fmla="*/ 2147483647 h 896"/>
                <a:gd name="T72" fmla="*/ 2147483647 w 953"/>
                <a:gd name="T73" fmla="*/ 2147483647 h 896"/>
                <a:gd name="T74" fmla="*/ 2147483647 w 953"/>
                <a:gd name="T75" fmla="*/ 2147483647 h 896"/>
                <a:gd name="T76" fmla="*/ 2147483647 w 953"/>
                <a:gd name="T77" fmla="*/ 2147483647 h 896"/>
                <a:gd name="T78" fmla="*/ 2147483647 w 953"/>
                <a:gd name="T79" fmla="*/ 2147483647 h 896"/>
                <a:gd name="T80" fmla="*/ 2147483647 w 953"/>
                <a:gd name="T81" fmla="*/ 2147483647 h 896"/>
                <a:gd name="T82" fmla="*/ 2147483647 w 953"/>
                <a:gd name="T83" fmla="*/ 2147483647 h 896"/>
                <a:gd name="T84" fmla="*/ 2147483647 w 953"/>
                <a:gd name="T85" fmla="*/ 2147483647 h 896"/>
                <a:gd name="T86" fmla="*/ 2147483647 w 953"/>
                <a:gd name="T87" fmla="*/ 2147483647 h 896"/>
                <a:gd name="T88" fmla="*/ 2147483647 w 953"/>
                <a:gd name="T89" fmla="*/ 2147483647 h 896"/>
                <a:gd name="T90" fmla="*/ 2147483647 w 953"/>
                <a:gd name="T91" fmla="*/ 2147483647 h 896"/>
                <a:gd name="T92" fmla="*/ 2147483647 w 953"/>
                <a:gd name="T93" fmla="*/ 2147483647 h 896"/>
                <a:gd name="T94" fmla="*/ 2147483647 w 953"/>
                <a:gd name="T95" fmla="*/ 2147483647 h 896"/>
                <a:gd name="T96" fmla="*/ 2147483647 w 953"/>
                <a:gd name="T97" fmla="*/ 2147483647 h 896"/>
                <a:gd name="T98" fmla="*/ 2147483647 w 953"/>
                <a:gd name="T99" fmla="*/ 2147483647 h 896"/>
                <a:gd name="T100" fmla="*/ 2147483647 w 953"/>
                <a:gd name="T101" fmla="*/ 2147483647 h 896"/>
                <a:gd name="T102" fmla="*/ 2147483647 w 953"/>
                <a:gd name="T103" fmla="*/ 2147483647 h 896"/>
                <a:gd name="T104" fmla="*/ 2147483647 w 953"/>
                <a:gd name="T105" fmla="*/ 2147483647 h 896"/>
                <a:gd name="T106" fmla="*/ 2147483647 w 953"/>
                <a:gd name="T107" fmla="*/ 2147483647 h 896"/>
                <a:gd name="T108" fmla="*/ 2147483647 w 953"/>
                <a:gd name="T109" fmla="*/ 2147483647 h 896"/>
                <a:gd name="T110" fmla="*/ 2147483647 w 953"/>
                <a:gd name="T111" fmla="*/ 2147483647 h 896"/>
                <a:gd name="T112" fmla="*/ 2147483647 w 953"/>
                <a:gd name="T113" fmla="*/ 2147483647 h 896"/>
                <a:gd name="T114" fmla="*/ 2147483647 w 953"/>
                <a:gd name="T115" fmla="*/ 2147483647 h 896"/>
                <a:gd name="T116" fmla="*/ 2147483647 w 953"/>
                <a:gd name="T117" fmla="*/ 2147483647 h 896"/>
                <a:gd name="T118" fmla="*/ 2147483647 w 953"/>
                <a:gd name="T119" fmla="*/ 2147483647 h 89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3"/>
                <a:gd name="T181" fmla="*/ 0 h 896"/>
                <a:gd name="T182" fmla="*/ 953 w 953"/>
                <a:gd name="T183" fmla="*/ 896 h 89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3" h="896">
                  <a:moveTo>
                    <a:pt x="465" y="771"/>
                  </a:moveTo>
                  <a:lnTo>
                    <a:pt x="454" y="771"/>
                  </a:lnTo>
                  <a:lnTo>
                    <a:pt x="448" y="771"/>
                  </a:lnTo>
                  <a:lnTo>
                    <a:pt x="442" y="771"/>
                  </a:lnTo>
                  <a:lnTo>
                    <a:pt x="437" y="771"/>
                  </a:lnTo>
                  <a:lnTo>
                    <a:pt x="431" y="777"/>
                  </a:lnTo>
                  <a:lnTo>
                    <a:pt x="425" y="777"/>
                  </a:lnTo>
                  <a:lnTo>
                    <a:pt x="420" y="777"/>
                  </a:lnTo>
                  <a:lnTo>
                    <a:pt x="414" y="777"/>
                  </a:lnTo>
                  <a:lnTo>
                    <a:pt x="408" y="771"/>
                  </a:lnTo>
                  <a:lnTo>
                    <a:pt x="414" y="771"/>
                  </a:lnTo>
                  <a:lnTo>
                    <a:pt x="414" y="765"/>
                  </a:lnTo>
                  <a:lnTo>
                    <a:pt x="420" y="760"/>
                  </a:lnTo>
                  <a:lnTo>
                    <a:pt x="420" y="754"/>
                  </a:lnTo>
                  <a:lnTo>
                    <a:pt x="420" y="748"/>
                  </a:lnTo>
                  <a:lnTo>
                    <a:pt x="414" y="748"/>
                  </a:lnTo>
                  <a:lnTo>
                    <a:pt x="403" y="748"/>
                  </a:lnTo>
                  <a:lnTo>
                    <a:pt x="397" y="748"/>
                  </a:lnTo>
                  <a:lnTo>
                    <a:pt x="397" y="743"/>
                  </a:lnTo>
                  <a:lnTo>
                    <a:pt x="397" y="737"/>
                  </a:lnTo>
                  <a:lnTo>
                    <a:pt x="397" y="731"/>
                  </a:lnTo>
                  <a:lnTo>
                    <a:pt x="397" y="726"/>
                  </a:lnTo>
                  <a:lnTo>
                    <a:pt x="397" y="720"/>
                  </a:lnTo>
                  <a:lnTo>
                    <a:pt x="403" y="720"/>
                  </a:lnTo>
                  <a:lnTo>
                    <a:pt x="403" y="714"/>
                  </a:lnTo>
                  <a:lnTo>
                    <a:pt x="408" y="709"/>
                  </a:lnTo>
                  <a:lnTo>
                    <a:pt x="414" y="709"/>
                  </a:lnTo>
                  <a:lnTo>
                    <a:pt x="414" y="703"/>
                  </a:lnTo>
                  <a:lnTo>
                    <a:pt x="420" y="703"/>
                  </a:lnTo>
                  <a:lnTo>
                    <a:pt x="425" y="697"/>
                  </a:lnTo>
                  <a:lnTo>
                    <a:pt x="425" y="692"/>
                  </a:lnTo>
                  <a:lnTo>
                    <a:pt x="425" y="686"/>
                  </a:lnTo>
                  <a:lnTo>
                    <a:pt x="431" y="680"/>
                  </a:lnTo>
                  <a:lnTo>
                    <a:pt x="431" y="675"/>
                  </a:lnTo>
                  <a:lnTo>
                    <a:pt x="437" y="675"/>
                  </a:lnTo>
                  <a:lnTo>
                    <a:pt x="442" y="675"/>
                  </a:lnTo>
                  <a:lnTo>
                    <a:pt x="442" y="669"/>
                  </a:lnTo>
                  <a:lnTo>
                    <a:pt x="437" y="669"/>
                  </a:lnTo>
                  <a:lnTo>
                    <a:pt x="437" y="663"/>
                  </a:lnTo>
                  <a:lnTo>
                    <a:pt x="431" y="663"/>
                  </a:lnTo>
                  <a:lnTo>
                    <a:pt x="425" y="663"/>
                  </a:lnTo>
                  <a:lnTo>
                    <a:pt x="425" y="658"/>
                  </a:lnTo>
                  <a:lnTo>
                    <a:pt x="420" y="658"/>
                  </a:lnTo>
                  <a:lnTo>
                    <a:pt x="414" y="652"/>
                  </a:lnTo>
                  <a:lnTo>
                    <a:pt x="414" y="646"/>
                  </a:lnTo>
                  <a:lnTo>
                    <a:pt x="420" y="646"/>
                  </a:lnTo>
                  <a:lnTo>
                    <a:pt x="420" y="641"/>
                  </a:lnTo>
                  <a:lnTo>
                    <a:pt x="425" y="641"/>
                  </a:lnTo>
                  <a:lnTo>
                    <a:pt x="425" y="635"/>
                  </a:lnTo>
                  <a:lnTo>
                    <a:pt x="420" y="635"/>
                  </a:lnTo>
                  <a:lnTo>
                    <a:pt x="414" y="635"/>
                  </a:lnTo>
                  <a:lnTo>
                    <a:pt x="408" y="635"/>
                  </a:lnTo>
                  <a:lnTo>
                    <a:pt x="403" y="635"/>
                  </a:lnTo>
                  <a:lnTo>
                    <a:pt x="397" y="629"/>
                  </a:lnTo>
                  <a:lnTo>
                    <a:pt x="397" y="624"/>
                  </a:lnTo>
                  <a:lnTo>
                    <a:pt x="397" y="618"/>
                  </a:lnTo>
                  <a:lnTo>
                    <a:pt x="403" y="618"/>
                  </a:lnTo>
                  <a:lnTo>
                    <a:pt x="408" y="618"/>
                  </a:lnTo>
                  <a:lnTo>
                    <a:pt x="414" y="612"/>
                  </a:lnTo>
                  <a:lnTo>
                    <a:pt x="420" y="607"/>
                  </a:lnTo>
                  <a:lnTo>
                    <a:pt x="425" y="607"/>
                  </a:lnTo>
                  <a:lnTo>
                    <a:pt x="425" y="601"/>
                  </a:lnTo>
                  <a:lnTo>
                    <a:pt x="425" y="595"/>
                  </a:lnTo>
                  <a:lnTo>
                    <a:pt x="425" y="590"/>
                  </a:lnTo>
                  <a:lnTo>
                    <a:pt x="425" y="578"/>
                  </a:lnTo>
                  <a:lnTo>
                    <a:pt x="425" y="567"/>
                  </a:lnTo>
                  <a:lnTo>
                    <a:pt x="420" y="561"/>
                  </a:lnTo>
                  <a:lnTo>
                    <a:pt x="420" y="556"/>
                  </a:lnTo>
                  <a:lnTo>
                    <a:pt x="425" y="544"/>
                  </a:lnTo>
                  <a:lnTo>
                    <a:pt x="425" y="539"/>
                  </a:lnTo>
                  <a:lnTo>
                    <a:pt x="425" y="533"/>
                  </a:lnTo>
                  <a:lnTo>
                    <a:pt x="420" y="533"/>
                  </a:lnTo>
                  <a:lnTo>
                    <a:pt x="420" y="527"/>
                  </a:lnTo>
                  <a:lnTo>
                    <a:pt x="414" y="527"/>
                  </a:lnTo>
                  <a:lnTo>
                    <a:pt x="408" y="522"/>
                  </a:lnTo>
                  <a:lnTo>
                    <a:pt x="403" y="522"/>
                  </a:lnTo>
                  <a:lnTo>
                    <a:pt x="397" y="522"/>
                  </a:lnTo>
                  <a:lnTo>
                    <a:pt x="386" y="527"/>
                  </a:lnTo>
                  <a:lnTo>
                    <a:pt x="380" y="527"/>
                  </a:lnTo>
                  <a:lnTo>
                    <a:pt x="374" y="527"/>
                  </a:lnTo>
                  <a:lnTo>
                    <a:pt x="369" y="527"/>
                  </a:lnTo>
                  <a:lnTo>
                    <a:pt x="357" y="527"/>
                  </a:lnTo>
                  <a:lnTo>
                    <a:pt x="346" y="522"/>
                  </a:lnTo>
                  <a:lnTo>
                    <a:pt x="340" y="522"/>
                  </a:lnTo>
                  <a:lnTo>
                    <a:pt x="329" y="522"/>
                  </a:lnTo>
                  <a:lnTo>
                    <a:pt x="323" y="522"/>
                  </a:lnTo>
                  <a:lnTo>
                    <a:pt x="318" y="522"/>
                  </a:lnTo>
                  <a:lnTo>
                    <a:pt x="312" y="522"/>
                  </a:lnTo>
                  <a:lnTo>
                    <a:pt x="306" y="516"/>
                  </a:lnTo>
                  <a:lnTo>
                    <a:pt x="301" y="510"/>
                  </a:lnTo>
                  <a:lnTo>
                    <a:pt x="289" y="505"/>
                  </a:lnTo>
                  <a:lnTo>
                    <a:pt x="289" y="499"/>
                  </a:lnTo>
                  <a:lnTo>
                    <a:pt x="284" y="499"/>
                  </a:lnTo>
                  <a:lnTo>
                    <a:pt x="284" y="493"/>
                  </a:lnTo>
                  <a:lnTo>
                    <a:pt x="284" y="488"/>
                  </a:lnTo>
                  <a:lnTo>
                    <a:pt x="284" y="482"/>
                  </a:lnTo>
                  <a:lnTo>
                    <a:pt x="289" y="482"/>
                  </a:lnTo>
                  <a:lnTo>
                    <a:pt x="295" y="476"/>
                  </a:lnTo>
                  <a:lnTo>
                    <a:pt x="295" y="471"/>
                  </a:lnTo>
                  <a:lnTo>
                    <a:pt x="301" y="471"/>
                  </a:lnTo>
                  <a:lnTo>
                    <a:pt x="301" y="465"/>
                  </a:lnTo>
                  <a:lnTo>
                    <a:pt x="306" y="465"/>
                  </a:lnTo>
                  <a:lnTo>
                    <a:pt x="312" y="465"/>
                  </a:lnTo>
                  <a:lnTo>
                    <a:pt x="312" y="459"/>
                  </a:lnTo>
                  <a:lnTo>
                    <a:pt x="318" y="454"/>
                  </a:lnTo>
                  <a:lnTo>
                    <a:pt x="323" y="448"/>
                  </a:lnTo>
                  <a:lnTo>
                    <a:pt x="329" y="448"/>
                  </a:lnTo>
                  <a:lnTo>
                    <a:pt x="329" y="442"/>
                  </a:lnTo>
                  <a:lnTo>
                    <a:pt x="335" y="442"/>
                  </a:lnTo>
                  <a:lnTo>
                    <a:pt x="335" y="437"/>
                  </a:lnTo>
                  <a:lnTo>
                    <a:pt x="340" y="431"/>
                  </a:lnTo>
                  <a:lnTo>
                    <a:pt x="340" y="425"/>
                  </a:lnTo>
                  <a:lnTo>
                    <a:pt x="335" y="425"/>
                  </a:lnTo>
                  <a:lnTo>
                    <a:pt x="335" y="420"/>
                  </a:lnTo>
                  <a:lnTo>
                    <a:pt x="329" y="414"/>
                  </a:lnTo>
                  <a:lnTo>
                    <a:pt x="323" y="408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06" y="408"/>
                  </a:lnTo>
                  <a:lnTo>
                    <a:pt x="301" y="408"/>
                  </a:lnTo>
                  <a:lnTo>
                    <a:pt x="295" y="403"/>
                  </a:lnTo>
                  <a:lnTo>
                    <a:pt x="289" y="403"/>
                  </a:lnTo>
                  <a:lnTo>
                    <a:pt x="289" y="397"/>
                  </a:lnTo>
                  <a:lnTo>
                    <a:pt x="295" y="391"/>
                  </a:lnTo>
                  <a:lnTo>
                    <a:pt x="295" y="385"/>
                  </a:lnTo>
                  <a:lnTo>
                    <a:pt x="301" y="380"/>
                  </a:lnTo>
                  <a:lnTo>
                    <a:pt x="301" y="374"/>
                  </a:lnTo>
                  <a:lnTo>
                    <a:pt x="301" y="368"/>
                  </a:lnTo>
                  <a:lnTo>
                    <a:pt x="301" y="357"/>
                  </a:lnTo>
                  <a:lnTo>
                    <a:pt x="295" y="357"/>
                  </a:lnTo>
                  <a:lnTo>
                    <a:pt x="289" y="351"/>
                  </a:lnTo>
                  <a:lnTo>
                    <a:pt x="289" y="346"/>
                  </a:lnTo>
                  <a:lnTo>
                    <a:pt x="284" y="346"/>
                  </a:lnTo>
                  <a:lnTo>
                    <a:pt x="272" y="346"/>
                  </a:lnTo>
                  <a:lnTo>
                    <a:pt x="267" y="346"/>
                  </a:lnTo>
                  <a:lnTo>
                    <a:pt x="261" y="346"/>
                  </a:lnTo>
                  <a:lnTo>
                    <a:pt x="261" y="340"/>
                  </a:lnTo>
                  <a:lnTo>
                    <a:pt x="261" y="334"/>
                  </a:lnTo>
                  <a:lnTo>
                    <a:pt x="261" y="329"/>
                  </a:lnTo>
                  <a:lnTo>
                    <a:pt x="267" y="329"/>
                  </a:lnTo>
                  <a:lnTo>
                    <a:pt x="267" y="323"/>
                  </a:lnTo>
                  <a:lnTo>
                    <a:pt x="261" y="317"/>
                  </a:lnTo>
                  <a:lnTo>
                    <a:pt x="261" y="312"/>
                  </a:lnTo>
                  <a:lnTo>
                    <a:pt x="255" y="312"/>
                  </a:lnTo>
                  <a:lnTo>
                    <a:pt x="250" y="312"/>
                  </a:lnTo>
                  <a:lnTo>
                    <a:pt x="244" y="306"/>
                  </a:lnTo>
                  <a:lnTo>
                    <a:pt x="233" y="306"/>
                  </a:lnTo>
                  <a:lnTo>
                    <a:pt x="227" y="306"/>
                  </a:lnTo>
                  <a:lnTo>
                    <a:pt x="227" y="312"/>
                  </a:lnTo>
                  <a:lnTo>
                    <a:pt x="221" y="312"/>
                  </a:lnTo>
                  <a:lnTo>
                    <a:pt x="216" y="312"/>
                  </a:lnTo>
                  <a:lnTo>
                    <a:pt x="216" y="317"/>
                  </a:lnTo>
                  <a:lnTo>
                    <a:pt x="221" y="317"/>
                  </a:lnTo>
                  <a:lnTo>
                    <a:pt x="227" y="323"/>
                  </a:lnTo>
                  <a:lnTo>
                    <a:pt x="227" y="329"/>
                  </a:lnTo>
                  <a:lnTo>
                    <a:pt x="210" y="329"/>
                  </a:lnTo>
                  <a:lnTo>
                    <a:pt x="199" y="329"/>
                  </a:lnTo>
                  <a:lnTo>
                    <a:pt x="199" y="334"/>
                  </a:lnTo>
                  <a:lnTo>
                    <a:pt x="187" y="334"/>
                  </a:lnTo>
                  <a:lnTo>
                    <a:pt x="182" y="334"/>
                  </a:lnTo>
                  <a:lnTo>
                    <a:pt x="182" y="340"/>
                  </a:lnTo>
                  <a:lnTo>
                    <a:pt x="176" y="340"/>
                  </a:lnTo>
                  <a:lnTo>
                    <a:pt x="170" y="340"/>
                  </a:lnTo>
                  <a:lnTo>
                    <a:pt x="165" y="340"/>
                  </a:lnTo>
                  <a:lnTo>
                    <a:pt x="159" y="346"/>
                  </a:lnTo>
                  <a:lnTo>
                    <a:pt x="153" y="340"/>
                  </a:lnTo>
                  <a:lnTo>
                    <a:pt x="148" y="334"/>
                  </a:lnTo>
                  <a:lnTo>
                    <a:pt x="148" y="329"/>
                  </a:lnTo>
                  <a:lnTo>
                    <a:pt x="148" y="323"/>
                  </a:lnTo>
                  <a:lnTo>
                    <a:pt x="142" y="323"/>
                  </a:lnTo>
                  <a:lnTo>
                    <a:pt x="142" y="317"/>
                  </a:lnTo>
                  <a:lnTo>
                    <a:pt x="136" y="317"/>
                  </a:lnTo>
                  <a:lnTo>
                    <a:pt x="131" y="317"/>
                  </a:lnTo>
                  <a:lnTo>
                    <a:pt x="131" y="323"/>
                  </a:lnTo>
                  <a:lnTo>
                    <a:pt x="125" y="323"/>
                  </a:lnTo>
                  <a:lnTo>
                    <a:pt x="125" y="329"/>
                  </a:lnTo>
                  <a:lnTo>
                    <a:pt x="119" y="329"/>
                  </a:lnTo>
                  <a:lnTo>
                    <a:pt x="114" y="329"/>
                  </a:lnTo>
                  <a:lnTo>
                    <a:pt x="114" y="334"/>
                  </a:lnTo>
                  <a:lnTo>
                    <a:pt x="108" y="334"/>
                  </a:lnTo>
                  <a:lnTo>
                    <a:pt x="108" y="340"/>
                  </a:lnTo>
                  <a:lnTo>
                    <a:pt x="97" y="346"/>
                  </a:lnTo>
                  <a:lnTo>
                    <a:pt x="91" y="346"/>
                  </a:lnTo>
                  <a:lnTo>
                    <a:pt x="91" y="351"/>
                  </a:lnTo>
                  <a:lnTo>
                    <a:pt x="91" y="357"/>
                  </a:lnTo>
                  <a:lnTo>
                    <a:pt x="85" y="357"/>
                  </a:lnTo>
                  <a:lnTo>
                    <a:pt x="80" y="357"/>
                  </a:lnTo>
                  <a:lnTo>
                    <a:pt x="80" y="363"/>
                  </a:lnTo>
                  <a:lnTo>
                    <a:pt x="74" y="363"/>
                  </a:lnTo>
                  <a:lnTo>
                    <a:pt x="74" y="368"/>
                  </a:lnTo>
                  <a:lnTo>
                    <a:pt x="68" y="368"/>
                  </a:lnTo>
                  <a:lnTo>
                    <a:pt x="63" y="368"/>
                  </a:lnTo>
                  <a:lnTo>
                    <a:pt x="63" y="374"/>
                  </a:lnTo>
                  <a:lnTo>
                    <a:pt x="63" y="380"/>
                  </a:lnTo>
                  <a:lnTo>
                    <a:pt x="57" y="380"/>
                  </a:lnTo>
                  <a:lnTo>
                    <a:pt x="57" y="385"/>
                  </a:lnTo>
                  <a:lnTo>
                    <a:pt x="51" y="397"/>
                  </a:lnTo>
                  <a:lnTo>
                    <a:pt x="46" y="397"/>
                  </a:lnTo>
                  <a:lnTo>
                    <a:pt x="46" y="403"/>
                  </a:lnTo>
                  <a:lnTo>
                    <a:pt x="40" y="403"/>
                  </a:lnTo>
                  <a:lnTo>
                    <a:pt x="34" y="403"/>
                  </a:lnTo>
                  <a:lnTo>
                    <a:pt x="29" y="403"/>
                  </a:lnTo>
                  <a:lnTo>
                    <a:pt x="23" y="403"/>
                  </a:lnTo>
                  <a:lnTo>
                    <a:pt x="17" y="403"/>
                  </a:lnTo>
                  <a:lnTo>
                    <a:pt x="17" y="397"/>
                  </a:lnTo>
                  <a:lnTo>
                    <a:pt x="17" y="391"/>
                  </a:lnTo>
                  <a:lnTo>
                    <a:pt x="17" y="385"/>
                  </a:lnTo>
                  <a:lnTo>
                    <a:pt x="17" y="380"/>
                  </a:lnTo>
                  <a:lnTo>
                    <a:pt x="12" y="380"/>
                  </a:lnTo>
                  <a:lnTo>
                    <a:pt x="12" y="374"/>
                  </a:lnTo>
                  <a:lnTo>
                    <a:pt x="6" y="374"/>
                  </a:lnTo>
                  <a:lnTo>
                    <a:pt x="0" y="374"/>
                  </a:lnTo>
                  <a:lnTo>
                    <a:pt x="0" y="368"/>
                  </a:lnTo>
                  <a:lnTo>
                    <a:pt x="0" y="363"/>
                  </a:lnTo>
                  <a:lnTo>
                    <a:pt x="0" y="357"/>
                  </a:lnTo>
                  <a:lnTo>
                    <a:pt x="0" y="351"/>
                  </a:lnTo>
                  <a:lnTo>
                    <a:pt x="0" y="346"/>
                  </a:lnTo>
                  <a:lnTo>
                    <a:pt x="6" y="340"/>
                  </a:lnTo>
                  <a:lnTo>
                    <a:pt x="6" y="334"/>
                  </a:lnTo>
                  <a:lnTo>
                    <a:pt x="12" y="334"/>
                  </a:lnTo>
                  <a:lnTo>
                    <a:pt x="12" y="329"/>
                  </a:lnTo>
                  <a:lnTo>
                    <a:pt x="6" y="317"/>
                  </a:lnTo>
                  <a:lnTo>
                    <a:pt x="6" y="312"/>
                  </a:lnTo>
                  <a:lnTo>
                    <a:pt x="12" y="312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6" y="295"/>
                  </a:lnTo>
                  <a:lnTo>
                    <a:pt x="6" y="289"/>
                  </a:lnTo>
                  <a:lnTo>
                    <a:pt x="0" y="289"/>
                  </a:lnTo>
                  <a:lnTo>
                    <a:pt x="0" y="283"/>
                  </a:lnTo>
                  <a:lnTo>
                    <a:pt x="0" y="278"/>
                  </a:lnTo>
                  <a:lnTo>
                    <a:pt x="6" y="272"/>
                  </a:lnTo>
                  <a:lnTo>
                    <a:pt x="6" y="266"/>
                  </a:lnTo>
                  <a:lnTo>
                    <a:pt x="6" y="261"/>
                  </a:lnTo>
                  <a:lnTo>
                    <a:pt x="6" y="255"/>
                  </a:lnTo>
                  <a:lnTo>
                    <a:pt x="6" y="249"/>
                  </a:lnTo>
                  <a:lnTo>
                    <a:pt x="12" y="244"/>
                  </a:lnTo>
                  <a:lnTo>
                    <a:pt x="17" y="238"/>
                  </a:lnTo>
                  <a:lnTo>
                    <a:pt x="17" y="232"/>
                  </a:lnTo>
                  <a:lnTo>
                    <a:pt x="23" y="227"/>
                  </a:lnTo>
                  <a:lnTo>
                    <a:pt x="29" y="227"/>
                  </a:lnTo>
                  <a:lnTo>
                    <a:pt x="34" y="227"/>
                  </a:lnTo>
                  <a:lnTo>
                    <a:pt x="40" y="227"/>
                  </a:lnTo>
                  <a:lnTo>
                    <a:pt x="46" y="227"/>
                  </a:lnTo>
                  <a:lnTo>
                    <a:pt x="46" y="221"/>
                  </a:lnTo>
                  <a:lnTo>
                    <a:pt x="46" y="215"/>
                  </a:lnTo>
                  <a:lnTo>
                    <a:pt x="51" y="215"/>
                  </a:lnTo>
                  <a:lnTo>
                    <a:pt x="51" y="204"/>
                  </a:lnTo>
                  <a:lnTo>
                    <a:pt x="57" y="204"/>
                  </a:lnTo>
                  <a:lnTo>
                    <a:pt x="57" y="198"/>
                  </a:lnTo>
                  <a:lnTo>
                    <a:pt x="63" y="193"/>
                  </a:lnTo>
                  <a:lnTo>
                    <a:pt x="68" y="193"/>
                  </a:lnTo>
                  <a:lnTo>
                    <a:pt x="68" y="187"/>
                  </a:lnTo>
                  <a:lnTo>
                    <a:pt x="74" y="187"/>
                  </a:lnTo>
                  <a:lnTo>
                    <a:pt x="74" y="181"/>
                  </a:lnTo>
                  <a:lnTo>
                    <a:pt x="80" y="181"/>
                  </a:lnTo>
                  <a:lnTo>
                    <a:pt x="91" y="176"/>
                  </a:lnTo>
                  <a:lnTo>
                    <a:pt x="91" y="170"/>
                  </a:lnTo>
                  <a:lnTo>
                    <a:pt x="102" y="170"/>
                  </a:lnTo>
                  <a:lnTo>
                    <a:pt x="102" y="164"/>
                  </a:lnTo>
                  <a:lnTo>
                    <a:pt x="108" y="164"/>
                  </a:lnTo>
                  <a:lnTo>
                    <a:pt x="114" y="170"/>
                  </a:lnTo>
                  <a:lnTo>
                    <a:pt x="119" y="170"/>
                  </a:lnTo>
                  <a:lnTo>
                    <a:pt x="125" y="176"/>
                  </a:lnTo>
                  <a:lnTo>
                    <a:pt x="131" y="176"/>
                  </a:lnTo>
                  <a:lnTo>
                    <a:pt x="142" y="176"/>
                  </a:lnTo>
                  <a:lnTo>
                    <a:pt x="148" y="176"/>
                  </a:lnTo>
                  <a:lnTo>
                    <a:pt x="153" y="176"/>
                  </a:lnTo>
                  <a:lnTo>
                    <a:pt x="159" y="176"/>
                  </a:lnTo>
                  <a:lnTo>
                    <a:pt x="176" y="170"/>
                  </a:lnTo>
                  <a:lnTo>
                    <a:pt x="182" y="170"/>
                  </a:lnTo>
                  <a:lnTo>
                    <a:pt x="187" y="164"/>
                  </a:lnTo>
                  <a:lnTo>
                    <a:pt x="193" y="164"/>
                  </a:lnTo>
                  <a:lnTo>
                    <a:pt x="199" y="164"/>
                  </a:lnTo>
                  <a:lnTo>
                    <a:pt x="199" y="159"/>
                  </a:lnTo>
                  <a:lnTo>
                    <a:pt x="204" y="159"/>
                  </a:lnTo>
                  <a:lnTo>
                    <a:pt x="210" y="153"/>
                  </a:lnTo>
                  <a:lnTo>
                    <a:pt x="216" y="147"/>
                  </a:lnTo>
                  <a:lnTo>
                    <a:pt x="216" y="142"/>
                  </a:lnTo>
                  <a:lnTo>
                    <a:pt x="221" y="142"/>
                  </a:lnTo>
                  <a:lnTo>
                    <a:pt x="221" y="136"/>
                  </a:lnTo>
                  <a:lnTo>
                    <a:pt x="227" y="130"/>
                  </a:lnTo>
                  <a:lnTo>
                    <a:pt x="227" y="125"/>
                  </a:lnTo>
                  <a:lnTo>
                    <a:pt x="227" y="119"/>
                  </a:lnTo>
                  <a:lnTo>
                    <a:pt x="227" y="108"/>
                  </a:lnTo>
                  <a:lnTo>
                    <a:pt x="233" y="96"/>
                  </a:lnTo>
                  <a:lnTo>
                    <a:pt x="233" y="91"/>
                  </a:lnTo>
                  <a:lnTo>
                    <a:pt x="238" y="85"/>
                  </a:lnTo>
                  <a:lnTo>
                    <a:pt x="244" y="85"/>
                  </a:lnTo>
                  <a:lnTo>
                    <a:pt x="244" y="79"/>
                  </a:lnTo>
                  <a:lnTo>
                    <a:pt x="250" y="79"/>
                  </a:lnTo>
                  <a:lnTo>
                    <a:pt x="255" y="79"/>
                  </a:lnTo>
                  <a:lnTo>
                    <a:pt x="255" y="74"/>
                  </a:lnTo>
                  <a:lnTo>
                    <a:pt x="261" y="74"/>
                  </a:lnTo>
                  <a:lnTo>
                    <a:pt x="261" y="68"/>
                  </a:lnTo>
                  <a:lnTo>
                    <a:pt x="267" y="68"/>
                  </a:lnTo>
                  <a:lnTo>
                    <a:pt x="272" y="62"/>
                  </a:lnTo>
                  <a:lnTo>
                    <a:pt x="278" y="57"/>
                  </a:lnTo>
                  <a:lnTo>
                    <a:pt x="284" y="51"/>
                  </a:lnTo>
                  <a:lnTo>
                    <a:pt x="278" y="45"/>
                  </a:lnTo>
                  <a:lnTo>
                    <a:pt x="284" y="51"/>
                  </a:lnTo>
                  <a:lnTo>
                    <a:pt x="289" y="51"/>
                  </a:lnTo>
                  <a:lnTo>
                    <a:pt x="295" y="51"/>
                  </a:lnTo>
                  <a:lnTo>
                    <a:pt x="306" y="51"/>
                  </a:lnTo>
                  <a:lnTo>
                    <a:pt x="312" y="57"/>
                  </a:lnTo>
                  <a:lnTo>
                    <a:pt x="318" y="57"/>
                  </a:lnTo>
                  <a:lnTo>
                    <a:pt x="318" y="62"/>
                  </a:lnTo>
                  <a:lnTo>
                    <a:pt x="318" y="68"/>
                  </a:lnTo>
                  <a:lnTo>
                    <a:pt x="318" y="79"/>
                  </a:lnTo>
                  <a:lnTo>
                    <a:pt x="312" y="79"/>
                  </a:lnTo>
                  <a:lnTo>
                    <a:pt x="312" y="85"/>
                  </a:lnTo>
                  <a:lnTo>
                    <a:pt x="312" y="91"/>
                  </a:lnTo>
                  <a:lnTo>
                    <a:pt x="312" y="96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23" y="102"/>
                  </a:lnTo>
                  <a:lnTo>
                    <a:pt x="329" y="108"/>
                  </a:lnTo>
                  <a:lnTo>
                    <a:pt x="335" y="108"/>
                  </a:lnTo>
                  <a:lnTo>
                    <a:pt x="340" y="108"/>
                  </a:lnTo>
                  <a:lnTo>
                    <a:pt x="340" y="113"/>
                  </a:lnTo>
                  <a:lnTo>
                    <a:pt x="346" y="113"/>
                  </a:lnTo>
                  <a:lnTo>
                    <a:pt x="346" y="119"/>
                  </a:lnTo>
                  <a:lnTo>
                    <a:pt x="352" y="119"/>
                  </a:lnTo>
                  <a:lnTo>
                    <a:pt x="357" y="125"/>
                  </a:lnTo>
                  <a:lnTo>
                    <a:pt x="357" y="130"/>
                  </a:lnTo>
                  <a:lnTo>
                    <a:pt x="369" y="136"/>
                  </a:lnTo>
                  <a:lnTo>
                    <a:pt x="374" y="136"/>
                  </a:lnTo>
                  <a:lnTo>
                    <a:pt x="380" y="130"/>
                  </a:lnTo>
                  <a:lnTo>
                    <a:pt x="386" y="130"/>
                  </a:lnTo>
                  <a:lnTo>
                    <a:pt x="386" y="125"/>
                  </a:lnTo>
                  <a:lnTo>
                    <a:pt x="386" y="119"/>
                  </a:lnTo>
                  <a:lnTo>
                    <a:pt x="386" y="113"/>
                  </a:lnTo>
                  <a:lnTo>
                    <a:pt x="386" y="108"/>
                  </a:lnTo>
                  <a:lnTo>
                    <a:pt x="386" y="96"/>
                  </a:lnTo>
                  <a:lnTo>
                    <a:pt x="386" y="91"/>
                  </a:lnTo>
                  <a:lnTo>
                    <a:pt x="386" y="85"/>
                  </a:lnTo>
                  <a:lnTo>
                    <a:pt x="397" y="79"/>
                  </a:lnTo>
                  <a:lnTo>
                    <a:pt x="408" y="79"/>
                  </a:lnTo>
                  <a:lnTo>
                    <a:pt x="414" y="79"/>
                  </a:lnTo>
                  <a:lnTo>
                    <a:pt x="420" y="85"/>
                  </a:lnTo>
                  <a:lnTo>
                    <a:pt x="425" y="85"/>
                  </a:lnTo>
                  <a:lnTo>
                    <a:pt x="431" y="85"/>
                  </a:lnTo>
                  <a:lnTo>
                    <a:pt x="437" y="85"/>
                  </a:lnTo>
                  <a:lnTo>
                    <a:pt x="437" y="79"/>
                  </a:lnTo>
                  <a:lnTo>
                    <a:pt x="442" y="79"/>
                  </a:lnTo>
                  <a:lnTo>
                    <a:pt x="442" y="62"/>
                  </a:lnTo>
                  <a:lnTo>
                    <a:pt x="448" y="57"/>
                  </a:lnTo>
                  <a:lnTo>
                    <a:pt x="448" y="51"/>
                  </a:lnTo>
                  <a:lnTo>
                    <a:pt x="454" y="51"/>
                  </a:lnTo>
                  <a:lnTo>
                    <a:pt x="460" y="51"/>
                  </a:lnTo>
                  <a:lnTo>
                    <a:pt x="465" y="45"/>
                  </a:lnTo>
                  <a:lnTo>
                    <a:pt x="471" y="45"/>
                  </a:lnTo>
                  <a:lnTo>
                    <a:pt x="482" y="45"/>
                  </a:lnTo>
                  <a:lnTo>
                    <a:pt x="488" y="45"/>
                  </a:lnTo>
                  <a:lnTo>
                    <a:pt x="494" y="51"/>
                  </a:lnTo>
                  <a:lnTo>
                    <a:pt x="499" y="51"/>
                  </a:lnTo>
                  <a:lnTo>
                    <a:pt x="499" y="57"/>
                  </a:lnTo>
                  <a:lnTo>
                    <a:pt x="505" y="62"/>
                  </a:lnTo>
                  <a:lnTo>
                    <a:pt x="511" y="62"/>
                  </a:lnTo>
                  <a:lnTo>
                    <a:pt x="516" y="68"/>
                  </a:lnTo>
                  <a:lnTo>
                    <a:pt x="522" y="68"/>
                  </a:lnTo>
                  <a:lnTo>
                    <a:pt x="528" y="79"/>
                  </a:lnTo>
                  <a:lnTo>
                    <a:pt x="528" y="85"/>
                  </a:lnTo>
                  <a:lnTo>
                    <a:pt x="528" y="91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33" y="108"/>
                  </a:lnTo>
                  <a:lnTo>
                    <a:pt x="539" y="108"/>
                  </a:lnTo>
                  <a:lnTo>
                    <a:pt x="545" y="108"/>
                  </a:lnTo>
                  <a:lnTo>
                    <a:pt x="550" y="108"/>
                  </a:lnTo>
                  <a:lnTo>
                    <a:pt x="556" y="102"/>
                  </a:lnTo>
                  <a:lnTo>
                    <a:pt x="556" y="96"/>
                  </a:lnTo>
                  <a:lnTo>
                    <a:pt x="567" y="91"/>
                  </a:lnTo>
                  <a:lnTo>
                    <a:pt x="573" y="91"/>
                  </a:lnTo>
                  <a:lnTo>
                    <a:pt x="573" y="85"/>
                  </a:lnTo>
                  <a:lnTo>
                    <a:pt x="579" y="85"/>
                  </a:lnTo>
                  <a:lnTo>
                    <a:pt x="579" y="79"/>
                  </a:lnTo>
                  <a:lnTo>
                    <a:pt x="584" y="79"/>
                  </a:lnTo>
                  <a:lnTo>
                    <a:pt x="584" y="74"/>
                  </a:lnTo>
                  <a:lnTo>
                    <a:pt x="590" y="74"/>
                  </a:lnTo>
                  <a:lnTo>
                    <a:pt x="596" y="68"/>
                  </a:lnTo>
                  <a:lnTo>
                    <a:pt x="601" y="68"/>
                  </a:lnTo>
                  <a:lnTo>
                    <a:pt x="613" y="62"/>
                  </a:lnTo>
                  <a:lnTo>
                    <a:pt x="613" y="57"/>
                  </a:lnTo>
                  <a:lnTo>
                    <a:pt x="618" y="51"/>
                  </a:lnTo>
                  <a:lnTo>
                    <a:pt x="624" y="51"/>
                  </a:lnTo>
                  <a:lnTo>
                    <a:pt x="630" y="45"/>
                  </a:lnTo>
                  <a:lnTo>
                    <a:pt x="635" y="40"/>
                  </a:lnTo>
                  <a:lnTo>
                    <a:pt x="641" y="34"/>
                  </a:lnTo>
                  <a:lnTo>
                    <a:pt x="652" y="23"/>
                  </a:lnTo>
                  <a:lnTo>
                    <a:pt x="664" y="23"/>
                  </a:lnTo>
                  <a:lnTo>
                    <a:pt x="669" y="17"/>
                  </a:lnTo>
                  <a:lnTo>
                    <a:pt x="675" y="11"/>
                  </a:lnTo>
                  <a:lnTo>
                    <a:pt x="681" y="11"/>
                  </a:lnTo>
                  <a:lnTo>
                    <a:pt x="686" y="11"/>
                  </a:lnTo>
                  <a:lnTo>
                    <a:pt x="692" y="11"/>
                  </a:lnTo>
                  <a:lnTo>
                    <a:pt x="698" y="6"/>
                  </a:lnTo>
                  <a:lnTo>
                    <a:pt x="703" y="6"/>
                  </a:lnTo>
                  <a:lnTo>
                    <a:pt x="709" y="6"/>
                  </a:lnTo>
                  <a:lnTo>
                    <a:pt x="715" y="0"/>
                  </a:lnTo>
                  <a:lnTo>
                    <a:pt x="720" y="6"/>
                  </a:lnTo>
                  <a:lnTo>
                    <a:pt x="726" y="17"/>
                  </a:lnTo>
                  <a:lnTo>
                    <a:pt x="726" y="23"/>
                  </a:lnTo>
                  <a:lnTo>
                    <a:pt x="726" y="34"/>
                  </a:lnTo>
                  <a:lnTo>
                    <a:pt x="726" y="40"/>
                  </a:lnTo>
                  <a:lnTo>
                    <a:pt x="720" y="40"/>
                  </a:lnTo>
                  <a:lnTo>
                    <a:pt x="720" y="45"/>
                  </a:lnTo>
                  <a:lnTo>
                    <a:pt x="726" y="45"/>
                  </a:lnTo>
                  <a:lnTo>
                    <a:pt x="726" y="51"/>
                  </a:lnTo>
                  <a:lnTo>
                    <a:pt x="726" y="57"/>
                  </a:lnTo>
                  <a:lnTo>
                    <a:pt x="726" y="62"/>
                  </a:lnTo>
                  <a:lnTo>
                    <a:pt x="732" y="62"/>
                  </a:lnTo>
                  <a:lnTo>
                    <a:pt x="737" y="62"/>
                  </a:lnTo>
                  <a:lnTo>
                    <a:pt x="743" y="62"/>
                  </a:lnTo>
                  <a:lnTo>
                    <a:pt x="749" y="68"/>
                  </a:lnTo>
                  <a:lnTo>
                    <a:pt x="754" y="68"/>
                  </a:lnTo>
                  <a:lnTo>
                    <a:pt x="760" y="74"/>
                  </a:lnTo>
                  <a:lnTo>
                    <a:pt x="766" y="74"/>
                  </a:lnTo>
                  <a:lnTo>
                    <a:pt x="766" y="79"/>
                  </a:lnTo>
                  <a:lnTo>
                    <a:pt x="771" y="79"/>
                  </a:lnTo>
                  <a:lnTo>
                    <a:pt x="771" y="91"/>
                  </a:lnTo>
                  <a:lnTo>
                    <a:pt x="777" y="96"/>
                  </a:lnTo>
                  <a:lnTo>
                    <a:pt x="783" y="102"/>
                  </a:lnTo>
                  <a:lnTo>
                    <a:pt x="783" y="108"/>
                  </a:lnTo>
                  <a:lnTo>
                    <a:pt x="788" y="108"/>
                  </a:lnTo>
                  <a:lnTo>
                    <a:pt x="794" y="108"/>
                  </a:lnTo>
                  <a:lnTo>
                    <a:pt x="800" y="108"/>
                  </a:lnTo>
                  <a:lnTo>
                    <a:pt x="805" y="108"/>
                  </a:lnTo>
                  <a:lnTo>
                    <a:pt x="811" y="108"/>
                  </a:lnTo>
                  <a:lnTo>
                    <a:pt x="817" y="113"/>
                  </a:lnTo>
                  <a:lnTo>
                    <a:pt x="828" y="119"/>
                  </a:lnTo>
                  <a:lnTo>
                    <a:pt x="834" y="119"/>
                  </a:lnTo>
                  <a:lnTo>
                    <a:pt x="839" y="119"/>
                  </a:lnTo>
                  <a:lnTo>
                    <a:pt x="839" y="125"/>
                  </a:lnTo>
                  <a:lnTo>
                    <a:pt x="845" y="125"/>
                  </a:lnTo>
                  <a:lnTo>
                    <a:pt x="851" y="130"/>
                  </a:lnTo>
                  <a:lnTo>
                    <a:pt x="856" y="136"/>
                  </a:lnTo>
                  <a:lnTo>
                    <a:pt x="862" y="136"/>
                  </a:lnTo>
                  <a:lnTo>
                    <a:pt x="862" y="142"/>
                  </a:lnTo>
                  <a:lnTo>
                    <a:pt x="868" y="147"/>
                  </a:lnTo>
                  <a:lnTo>
                    <a:pt x="868" y="153"/>
                  </a:lnTo>
                  <a:lnTo>
                    <a:pt x="873" y="153"/>
                  </a:lnTo>
                  <a:lnTo>
                    <a:pt x="873" y="159"/>
                  </a:lnTo>
                  <a:lnTo>
                    <a:pt x="879" y="159"/>
                  </a:lnTo>
                  <a:lnTo>
                    <a:pt x="879" y="164"/>
                  </a:lnTo>
                  <a:lnTo>
                    <a:pt x="879" y="170"/>
                  </a:lnTo>
                  <a:lnTo>
                    <a:pt x="885" y="170"/>
                  </a:lnTo>
                  <a:lnTo>
                    <a:pt x="885" y="176"/>
                  </a:lnTo>
                  <a:lnTo>
                    <a:pt x="885" y="181"/>
                  </a:lnTo>
                  <a:lnTo>
                    <a:pt x="885" y="187"/>
                  </a:lnTo>
                  <a:lnTo>
                    <a:pt x="885" y="193"/>
                  </a:lnTo>
                  <a:lnTo>
                    <a:pt x="879" y="193"/>
                  </a:lnTo>
                  <a:lnTo>
                    <a:pt x="879" y="215"/>
                  </a:lnTo>
                  <a:lnTo>
                    <a:pt x="879" y="221"/>
                  </a:lnTo>
                  <a:lnTo>
                    <a:pt x="879" y="227"/>
                  </a:lnTo>
                  <a:lnTo>
                    <a:pt x="879" y="232"/>
                  </a:lnTo>
                  <a:lnTo>
                    <a:pt x="879" y="244"/>
                  </a:lnTo>
                  <a:lnTo>
                    <a:pt x="879" y="261"/>
                  </a:lnTo>
                  <a:lnTo>
                    <a:pt x="885" y="272"/>
                  </a:lnTo>
                  <a:lnTo>
                    <a:pt x="885" y="278"/>
                  </a:lnTo>
                  <a:lnTo>
                    <a:pt x="885" y="283"/>
                  </a:lnTo>
                  <a:lnTo>
                    <a:pt x="885" y="289"/>
                  </a:lnTo>
                  <a:lnTo>
                    <a:pt x="879" y="289"/>
                  </a:lnTo>
                  <a:lnTo>
                    <a:pt x="873" y="289"/>
                  </a:lnTo>
                  <a:lnTo>
                    <a:pt x="868" y="289"/>
                  </a:lnTo>
                  <a:lnTo>
                    <a:pt x="862" y="295"/>
                  </a:lnTo>
                  <a:lnTo>
                    <a:pt x="862" y="300"/>
                  </a:lnTo>
                  <a:lnTo>
                    <a:pt x="862" y="306"/>
                  </a:lnTo>
                  <a:lnTo>
                    <a:pt x="868" y="306"/>
                  </a:lnTo>
                  <a:lnTo>
                    <a:pt x="873" y="306"/>
                  </a:lnTo>
                  <a:lnTo>
                    <a:pt x="879" y="312"/>
                  </a:lnTo>
                  <a:lnTo>
                    <a:pt x="890" y="312"/>
                  </a:lnTo>
                  <a:lnTo>
                    <a:pt x="896" y="312"/>
                  </a:lnTo>
                  <a:lnTo>
                    <a:pt x="896" y="317"/>
                  </a:lnTo>
                  <a:lnTo>
                    <a:pt x="902" y="317"/>
                  </a:lnTo>
                  <a:lnTo>
                    <a:pt x="902" y="323"/>
                  </a:lnTo>
                  <a:lnTo>
                    <a:pt x="907" y="329"/>
                  </a:lnTo>
                  <a:lnTo>
                    <a:pt x="907" y="334"/>
                  </a:lnTo>
                  <a:lnTo>
                    <a:pt x="913" y="340"/>
                  </a:lnTo>
                  <a:lnTo>
                    <a:pt x="919" y="340"/>
                  </a:lnTo>
                  <a:lnTo>
                    <a:pt x="924" y="346"/>
                  </a:lnTo>
                  <a:lnTo>
                    <a:pt x="930" y="346"/>
                  </a:lnTo>
                  <a:lnTo>
                    <a:pt x="936" y="346"/>
                  </a:lnTo>
                  <a:lnTo>
                    <a:pt x="936" y="340"/>
                  </a:lnTo>
                  <a:lnTo>
                    <a:pt x="941" y="340"/>
                  </a:lnTo>
                  <a:lnTo>
                    <a:pt x="947" y="346"/>
                  </a:lnTo>
                  <a:lnTo>
                    <a:pt x="941" y="346"/>
                  </a:lnTo>
                  <a:lnTo>
                    <a:pt x="941" y="351"/>
                  </a:lnTo>
                  <a:lnTo>
                    <a:pt x="941" y="357"/>
                  </a:lnTo>
                  <a:lnTo>
                    <a:pt x="936" y="363"/>
                  </a:lnTo>
                  <a:lnTo>
                    <a:pt x="936" y="368"/>
                  </a:lnTo>
                  <a:lnTo>
                    <a:pt x="936" y="374"/>
                  </a:lnTo>
                  <a:lnTo>
                    <a:pt x="941" y="385"/>
                  </a:lnTo>
                  <a:lnTo>
                    <a:pt x="947" y="397"/>
                  </a:lnTo>
                  <a:lnTo>
                    <a:pt x="953" y="403"/>
                  </a:lnTo>
                  <a:lnTo>
                    <a:pt x="953" y="408"/>
                  </a:lnTo>
                  <a:lnTo>
                    <a:pt x="953" y="414"/>
                  </a:lnTo>
                  <a:lnTo>
                    <a:pt x="953" y="420"/>
                  </a:lnTo>
                  <a:lnTo>
                    <a:pt x="953" y="437"/>
                  </a:lnTo>
                  <a:lnTo>
                    <a:pt x="953" y="442"/>
                  </a:lnTo>
                  <a:lnTo>
                    <a:pt x="947" y="448"/>
                  </a:lnTo>
                  <a:lnTo>
                    <a:pt x="947" y="454"/>
                  </a:lnTo>
                  <a:lnTo>
                    <a:pt x="941" y="459"/>
                  </a:lnTo>
                  <a:lnTo>
                    <a:pt x="936" y="465"/>
                  </a:lnTo>
                  <a:lnTo>
                    <a:pt x="930" y="465"/>
                  </a:lnTo>
                  <a:lnTo>
                    <a:pt x="924" y="471"/>
                  </a:lnTo>
                  <a:lnTo>
                    <a:pt x="919" y="476"/>
                  </a:lnTo>
                  <a:lnTo>
                    <a:pt x="919" y="482"/>
                  </a:lnTo>
                  <a:lnTo>
                    <a:pt x="919" y="488"/>
                  </a:lnTo>
                  <a:lnTo>
                    <a:pt x="919" y="493"/>
                  </a:lnTo>
                  <a:lnTo>
                    <a:pt x="919" y="499"/>
                  </a:lnTo>
                  <a:lnTo>
                    <a:pt x="919" y="522"/>
                  </a:lnTo>
                  <a:lnTo>
                    <a:pt x="919" y="527"/>
                  </a:lnTo>
                  <a:lnTo>
                    <a:pt x="919" y="533"/>
                  </a:lnTo>
                  <a:lnTo>
                    <a:pt x="919" y="539"/>
                  </a:lnTo>
                  <a:lnTo>
                    <a:pt x="919" y="544"/>
                  </a:lnTo>
                  <a:lnTo>
                    <a:pt x="913" y="550"/>
                  </a:lnTo>
                  <a:lnTo>
                    <a:pt x="913" y="556"/>
                  </a:lnTo>
                  <a:lnTo>
                    <a:pt x="907" y="556"/>
                  </a:lnTo>
                  <a:lnTo>
                    <a:pt x="907" y="561"/>
                  </a:lnTo>
                  <a:lnTo>
                    <a:pt x="907" y="567"/>
                  </a:lnTo>
                  <a:lnTo>
                    <a:pt x="902" y="573"/>
                  </a:lnTo>
                  <a:lnTo>
                    <a:pt x="902" y="578"/>
                  </a:lnTo>
                  <a:lnTo>
                    <a:pt x="902" y="584"/>
                  </a:lnTo>
                  <a:lnTo>
                    <a:pt x="902" y="595"/>
                  </a:lnTo>
                  <a:lnTo>
                    <a:pt x="902" y="618"/>
                  </a:lnTo>
                  <a:lnTo>
                    <a:pt x="902" y="624"/>
                  </a:lnTo>
                  <a:lnTo>
                    <a:pt x="902" y="635"/>
                  </a:lnTo>
                  <a:lnTo>
                    <a:pt x="902" y="646"/>
                  </a:lnTo>
                  <a:lnTo>
                    <a:pt x="896" y="652"/>
                  </a:lnTo>
                  <a:lnTo>
                    <a:pt x="890" y="658"/>
                  </a:lnTo>
                  <a:lnTo>
                    <a:pt x="890" y="663"/>
                  </a:lnTo>
                  <a:lnTo>
                    <a:pt x="890" y="669"/>
                  </a:lnTo>
                  <a:lnTo>
                    <a:pt x="885" y="680"/>
                  </a:lnTo>
                  <a:lnTo>
                    <a:pt x="879" y="692"/>
                  </a:lnTo>
                  <a:lnTo>
                    <a:pt x="879" y="697"/>
                  </a:lnTo>
                  <a:lnTo>
                    <a:pt x="879" y="703"/>
                  </a:lnTo>
                  <a:lnTo>
                    <a:pt x="879" y="714"/>
                  </a:lnTo>
                  <a:lnTo>
                    <a:pt x="879" y="720"/>
                  </a:lnTo>
                  <a:lnTo>
                    <a:pt x="879" y="726"/>
                  </a:lnTo>
                  <a:lnTo>
                    <a:pt x="879" y="731"/>
                  </a:lnTo>
                  <a:lnTo>
                    <a:pt x="885" y="731"/>
                  </a:lnTo>
                  <a:lnTo>
                    <a:pt x="885" y="737"/>
                  </a:lnTo>
                  <a:lnTo>
                    <a:pt x="890" y="743"/>
                  </a:lnTo>
                  <a:lnTo>
                    <a:pt x="902" y="754"/>
                  </a:lnTo>
                  <a:lnTo>
                    <a:pt x="907" y="760"/>
                  </a:lnTo>
                  <a:lnTo>
                    <a:pt x="907" y="765"/>
                  </a:lnTo>
                  <a:lnTo>
                    <a:pt x="913" y="765"/>
                  </a:lnTo>
                  <a:lnTo>
                    <a:pt x="919" y="765"/>
                  </a:lnTo>
                  <a:lnTo>
                    <a:pt x="919" y="771"/>
                  </a:lnTo>
                  <a:lnTo>
                    <a:pt x="924" y="771"/>
                  </a:lnTo>
                  <a:lnTo>
                    <a:pt x="930" y="777"/>
                  </a:lnTo>
                  <a:lnTo>
                    <a:pt x="930" y="782"/>
                  </a:lnTo>
                  <a:lnTo>
                    <a:pt x="930" y="788"/>
                  </a:lnTo>
                  <a:lnTo>
                    <a:pt x="930" y="794"/>
                  </a:lnTo>
                  <a:lnTo>
                    <a:pt x="924" y="799"/>
                  </a:lnTo>
                  <a:lnTo>
                    <a:pt x="919" y="805"/>
                  </a:lnTo>
                  <a:lnTo>
                    <a:pt x="919" y="811"/>
                  </a:lnTo>
                  <a:lnTo>
                    <a:pt x="919" y="816"/>
                  </a:lnTo>
                  <a:lnTo>
                    <a:pt x="913" y="816"/>
                  </a:lnTo>
                  <a:lnTo>
                    <a:pt x="913" y="822"/>
                  </a:lnTo>
                  <a:lnTo>
                    <a:pt x="907" y="828"/>
                  </a:lnTo>
                  <a:lnTo>
                    <a:pt x="907" y="833"/>
                  </a:lnTo>
                  <a:lnTo>
                    <a:pt x="907" y="839"/>
                  </a:lnTo>
                  <a:lnTo>
                    <a:pt x="902" y="845"/>
                  </a:lnTo>
                  <a:lnTo>
                    <a:pt x="902" y="850"/>
                  </a:lnTo>
                  <a:lnTo>
                    <a:pt x="896" y="856"/>
                  </a:lnTo>
                  <a:lnTo>
                    <a:pt x="896" y="862"/>
                  </a:lnTo>
                  <a:lnTo>
                    <a:pt x="890" y="867"/>
                  </a:lnTo>
                  <a:lnTo>
                    <a:pt x="890" y="873"/>
                  </a:lnTo>
                  <a:lnTo>
                    <a:pt x="890" y="879"/>
                  </a:lnTo>
                  <a:lnTo>
                    <a:pt x="890" y="884"/>
                  </a:lnTo>
                  <a:lnTo>
                    <a:pt x="885" y="884"/>
                  </a:lnTo>
                  <a:lnTo>
                    <a:pt x="879" y="890"/>
                  </a:lnTo>
                  <a:lnTo>
                    <a:pt x="879" y="896"/>
                  </a:lnTo>
                  <a:lnTo>
                    <a:pt x="873" y="896"/>
                  </a:lnTo>
                  <a:lnTo>
                    <a:pt x="868" y="896"/>
                  </a:lnTo>
                  <a:lnTo>
                    <a:pt x="862" y="896"/>
                  </a:lnTo>
                  <a:lnTo>
                    <a:pt x="851" y="896"/>
                  </a:lnTo>
                  <a:lnTo>
                    <a:pt x="845" y="896"/>
                  </a:lnTo>
                  <a:lnTo>
                    <a:pt x="839" y="890"/>
                  </a:lnTo>
                  <a:lnTo>
                    <a:pt x="834" y="884"/>
                  </a:lnTo>
                  <a:lnTo>
                    <a:pt x="828" y="884"/>
                  </a:lnTo>
                  <a:lnTo>
                    <a:pt x="828" y="879"/>
                  </a:lnTo>
                  <a:lnTo>
                    <a:pt x="822" y="873"/>
                  </a:lnTo>
                  <a:lnTo>
                    <a:pt x="822" y="867"/>
                  </a:lnTo>
                  <a:lnTo>
                    <a:pt x="817" y="862"/>
                  </a:lnTo>
                  <a:lnTo>
                    <a:pt x="811" y="856"/>
                  </a:lnTo>
                  <a:lnTo>
                    <a:pt x="805" y="850"/>
                  </a:lnTo>
                  <a:lnTo>
                    <a:pt x="800" y="850"/>
                  </a:lnTo>
                  <a:lnTo>
                    <a:pt x="788" y="850"/>
                  </a:lnTo>
                  <a:lnTo>
                    <a:pt x="783" y="845"/>
                  </a:lnTo>
                  <a:lnTo>
                    <a:pt x="777" y="850"/>
                  </a:lnTo>
                  <a:lnTo>
                    <a:pt x="771" y="850"/>
                  </a:lnTo>
                  <a:lnTo>
                    <a:pt x="766" y="850"/>
                  </a:lnTo>
                  <a:lnTo>
                    <a:pt x="766" y="856"/>
                  </a:lnTo>
                  <a:lnTo>
                    <a:pt x="760" y="856"/>
                  </a:lnTo>
                  <a:lnTo>
                    <a:pt x="754" y="862"/>
                  </a:lnTo>
                  <a:lnTo>
                    <a:pt x="754" y="867"/>
                  </a:lnTo>
                  <a:lnTo>
                    <a:pt x="749" y="867"/>
                  </a:lnTo>
                  <a:lnTo>
                    <a:pt x="749" y="873"/>
                  </a:lnTo>
                  <a:lnTo>
                    <a:pt x="743" y="879"/>
                  </a:lnTo>
                  <a:lnTo>
                    <a:pt x="737" y="879"/>
                  </a:lnTo>
                  <a:lnTo>
                    <a:pt x="737" y="884"/>
                  </a:lnTo>
                  <a:lnTo>
                    <a:pt x="732" y="890"/>
                  </a:lnTo>
                  <a:lnTo>
                    <a:pt x="726" y="896"/>
                  </a:lnTo>
                  <a:lnTo>
                    <a:pt x="720" y="896"/>
                  </a:lnTo>
                  <a:lnTo>
                    <a:pt x="715" y="884"/>
                  </a:lnTo>
                  <a:lnTo>
                    <a:pt x="715" y="879"/>
                  </a:lnTo>
                  <a:lnTo>
                    <a:pt x="720" y="862"/>
                  </a:lnTo>
                  <a:lnTo>
                    <a:pt x="720" y="856"/>
                  </a:lnTo>
                  <a:lnTo>
                    <a:pt x="720" y="850"/>
                  </a:lnTo>
                  <a:lnTo>
                    <a:pt x="720" y="845"/>
                  </a:lnTo>
                  <a:lnTo>
                    <a:pt x="720" y="839"/>
                  </a:lnTo>
                  <a:lnTo>
                    <a:pt x="715" y="833"/>
                  </a:lnTo>
                  <a:lnTo>
                    <a:pt x="709" y="828"/>
                  </a:lnTo>
                  <a:lnTo>
                    <a:pt x="709" y="822"/>
                  </a:lnTo>
                  <a:lnTo>
                    <a:pt x="703" y="816"/>
                  </a:lnTo>
                  <a:lnTo>
                    <a:pt x="698" y="816"/>
                  </a:lnTo>
                  <a:lnTo>
                    <a:pt x="698" y="811"/>
                  </a:lnTo>
                  <a:lnTo>
                    <a:pt x="698" y="805"/>
                  </a:lnTo>
                  <a:lnTo>
                    <a:pt x="692" y="799"/>
                  </a:lnTo>
                  <a:lnTo>
                    <a:pt x="692" y="794"/>
                  </a:lnTo>
                  <a:lnTo>
                    <a:pt x="692" y="788"/>
                  </a:lnTo>
                  <a:lnTo>
                    <a:pt x="692" y="782"/>
                  </a:lnTo>
                  <a:lnTo>
                    <a:pt x="686" y="782"/>
                  </a:lnTo>
                  <a:lnTo>
                    <a:pt x="686" y="777"/>
                  </a:lnTo>
                  <a:lnTo>
                    <a:pt x="681" y="771"/>
                  </a:lnTo>
                  <a:lnTo>
                    <a:pt x="681" y="765"/>
                  </a:lnTo>
                  <a:lnTo>
                    <a:pt x="675" y="760"/>
                  </a:lnTo>
                  <a:lnTo>
                    <a:pt x="669" y="760"/>
                  </a:lnTo>
                  <a:lnTo>
                    <a:pt x="664" y="760"/>
                  </a:lnTo>
                  <a:lnTo>
                    <a:pt x="658" y="760"/>
                  </a:lnTo>
                  <a:lnTo>
                    <a:pt x="652" y="760"/>
                  </a:lnTo>
                  <a:lnTo>
                    <a:pt x="641" y="760"/>
                  </a:lnTo>
                  <a:lnTo>
                    <a:pt x="641" y="765"/>
                  </a:lnTo>
                  <a:lnTo>
                    <a:pt x="641" y="771"/>
                  </a:lnTo>
                  <a:lnTo>
                    <a:pt x="635" y="771"/>
                  </a:lnTo>
                  <a:lnTo>
                    <a:pt x="635" y="777"/>
                  </a:lnTo>
                  <a:lnTo>
                    <a:pt x="630" y="777"/>
                  </a:lnTo>
                  <a:lnTo>
                    <a:pt x="624" y="782"/>
                  </a:lnTo>
                  <a:lnTo>
                    <a:pt x="613" y="788"/>
                  </a:lnTo>
                  <a:lnTo>
                    <a:pt x="607" y="782"/>
                  </a:lnTo>
                  <a:lnTo>
                    <a:pt x="601" y="782"/>
                  </a:lnTo>
                  <a:lnTo>
                    <a:pt x="601" y="777"/>
                  </a:lnTo>
                  <a:lnTo>
                    <a:pt x="596" y="777"/>
                  </a:lnTo>
                  <a:lnTo>
                    <a:pt x="590" y="777"/>
                  </a:lnTo>
                  <a:lnTo>
                    <a:pt x="584" y="777"/>
                  </a:lnTo>
                  <a:lnTo>
                    <a:pt x="579" y="777"/>
                  </a:lnTo>
                  <a:lnTo>
                    <a:pt x="579" y="771"/>
                  </a:lnTo>
                  <a:lnTo>
                    <a:pt x="573" y="765"/>
                  </a:lnTo>
                  <a:lnTo>
                    <a:pt x="567" y="765"/>
                  </a:lnTo>
                  <a:lnTo>
                    <a:pt x="562" y="765"/>
                  </a:lnTo>
                  <a:lnTo>
                    <a:pt x="556" y="765"/>
                  </a:lnTo>
                  <a:lnTo>
                    <a:pt x="556" y="771"/>
                  </a:lnTo>
                  <a:lnTo>
                    <a:pt x="550" y="771"/>
                  </a:lnTo>
                  <a:lnTo>
                    <a:pt x="545" y="771"/>
                  </a:lnTo>
                  <a:lnTo>
                    <a:pt x="522" y="754"/>
                  </a:lnTo>
                  <a:lnTo>
                    <a:pt x="499" y="771"/>
                  </a:lnTo>
                  <a:lnTo>
                    <a:pt x="494" y="771"/>
                  </a:lnTo>
                  <a:lnTo>
                    <a:pt x="482" y="771"/>
                  </a:lnTo>
                  <a:lnTo>
                    <a:pt x="465" y="771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100" name="Rectangle 41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2578368" y="2277056"/>
              <a:ext cx="380554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aduna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</p:grpSp>
      <p:sp>
        <p:nvSpPr>
          <p:cNvPr id="102" name="Isosceles Triangle 101"/>
          <p:cNvSpPr/>
          <p:nvPr/>
        </p:nvSpPr>
        <p:spPr>
          <a:xfrm>
            <a:off x="1988839" y="1461888"/>
            <a:ext cx="144016" cy="167267"/>
          </a:xfrm>
          <a:prstGeom prst="triangle">
            <a:avLst/>
          </a:prstGeom>
          <a:solidFill>
            <a:srgbClr val="EEF737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4" name="Isosceles Triangle 103"/>
          <p:cNvSpPr/>
          <p:nvPr/>
        </p:nvSpPr>
        <p:spPr>
          <a:xfrm>
            <a:off x="2834032" y="2924612"/>
            <a:ext cx="144016" cy="167267"/>
          </a:xfrm>
          <a:prstGeom prst="triangle">
            <a:avLst/>
          </a:prstGeom>
          <a:solidFill>
            <a:srgbClr val="EEF737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6" name="Isosceles Triangle 105"/>
          <p:cNvSpPr/>
          <p:nvPr/>
        </p:nvSpPr>
        <p:spPr>
          <a:xfrm>
            <a:off x="2655109" y="2439354"/>
            <a:ext cx="144016" cy="167267"/>
          </a:xfrm>
          <a:prstGeom prst="triangle">
            <a:avLst/>
          </a:prstGeom>
          <a:solidFill>
            <a:srgbClr val="EEF737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7" name="Isosceles Triangle 106"/>
          <p:cNvSpPr/>
          <p:nvPr/>
        </p:nvSpPr>
        <p:spPr>
          <a:xfrm>
            <a:off x="3268814" y="1898757"/>
            <a:ext cx="144016" cy="167267"/>
          </a:xfrm>
          <a:prstGeom prst="triangle">
            <a:avLst/>
          </a:prstGeom>
          <a:solidFill>
            <a:srgbClr val="EEF737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8" name="Isosceles Triangle 107"/>
          <p:cNvSpPr/>
          <p:nvPr/>
        </p:nvSpPr>
        <p:spPr>
          <a:xfrm>
            <a:off x="2691102" y="1946040"/>
            <a:ext cx="144016" cy="167267"/>
          </a:xfrm>
          <a:prstGeom prst="triangle">
            <a:avLst/>
          </a:prstGeom>
          <a:solidFill>
            <a:srgbClr val="EEF737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9" name="Isosceles Triangle 108"/>
          <p:cNvSpPr/>
          <p:nvPr/>
        </p:nvSpPr>
        <p:spPr>
          <a:xfrm>
            <a:off x="3057694" y="2451053"/>
            <a:ext cx="144016" cy="167267"/>
          </a:xfrm>
          <a:prstGeom prst="triangle">
            <a:avLst/>
          </a:prstGeom>
          <a:solidFill>
            <a:srgbClr val="EEF737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5976664" y="3356992"/>
            <a:ext cx="3275856" cy="3023756"/>
            <a:chOff x="5976664" y="3356992"/>
            <a:chExt cx="3275856" cy="3023756"/>
          </a:xfrm>
        </p:grpSpPr>
        <p:sp>
          <p:nvSpPr>
            <p:cNvPr id="12" name="Rounded Rectangle 11"/>
            <p:cNvSpPr/>
            <p:nvPr/>
          </p:nvSpPr>
          <p:spPr>
            <a:xfrm>
              <a:off x="6156176" y="3677648"/>
              <a:ext cx="288032" cy="144016"/>
            </a:xfrm>
            <a:prstGeom prst="roundRect">
              <a:avLst/>
            </a:prstGeom>
            <a:solidFill>
              <a:srgbClr val="00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6156176" y="4037688"/>
              <a:ext cx="288032" cy="144016"/>
            </a:xfrm>
            <a:prstGeom prst="roundRect">
              <a:avLst/>
            </a:prstGeom>
            <a:solidFill>
              <a:srgbClr val="00C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6156176" y="4397728"/>
              <a:ext cx="288032" cy="144016"/>
            </a:xfrm>
            <a:prstGeom prst="round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444208" y="3605640"/>
              <a:ext cx="18356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Over 1million MT of grain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444208" y="3976713"/>
              <a:ext cx="21602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500,000 – 1million MT of grain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444208" y="4336753"/>
              <a:ext cx="21602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Below 500,000 MT of grain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014578" y="5460349"/>
              <a:ext cx="26642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u="sng" dirty="0" smtClean="0">
                  <a:solidFill>
                    <a:prstClr val="black"/>
                  </a:solidFill>
                </a:rPr>
                <a:t>Crops</a:t>
              </a:r>
              <a:r>
                <a:rPr lang="en-US" sz="1200" dirty="0" smtClean="0">
                  <a:solidFill>
                    <a:prstClr val="black"/>
                  </a:solidFill>
                </a:rPr>
                <a:t>: Cocoa, Groundnut, Guinea Corn, Maize, Millet, Rice, Sesame seed, Soya bean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084168" y="3356992"/>
              <a:ext cx="100811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prstClr val="black"/>
                  </a:solidFill>
                </a:rPr>
                <a:t>Key</a:t>
              </a:r>
              <a:endParaRPr lang="en-US" b="1" dirty="0">
                <a:solidFill>
                  <a:prstClr val="black"/>
                </a:solidFill>
              </a:endParaRPr>
            </a:p>
          </p:txBody>
        </p:sp>
        <p:cxnSp>
          <p:nvCxnSpPr>
            <p:cNvPr id="21" name="Straight Connector 20"/>
            <p:cNvCxnSpPr/>
            <p:nvPr/>
          </p:nvCxnSpPr>
          <p:spPr>
            <a:xfrm flipV="1">
              <a:off x="6156176" y="3598027"/>
              <a:ext cx="50405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5976664" y="6165304"/>
              <a:ext cx="32758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 smtClean="0">
                  <a:solidFill>
                    <a:prstClr val="black"/>
                  </a:solidFill>
                </a:rPr>
                <a:t>Data from National Bureau of Statistics and self estimates</a:t>
              </a:r>
              <a:endParaRPr lang="en-US" sz="800" dirty="0">
                <a:solidFill>
                  <a:prstClr val="black"/>
                </a:solidFill>
              </a:endParaRPr>
            </a:p>
          </p:txBody>
        </p:sp>
        <p:sp>
          <p:nvSpPr>
            <p:cNvPr id="103" name="Isosceles Triangle 102"/>
            <p:cNvSpPr/>
            <p:nvPr/>
          </p:nvSpPr>
          <p:spPr>
            <a:xfrm>
              <a:off x="6204291" y="4919348"/>
              <a:ext cx="144016" cy="167267"/>
            </a:xfrm>
            <a:prstGeom prst="triangle">
              <a:avLst/>
            </a:prstGeom>
            <a:solidFill>
              <a:srgbClr val="EEF737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6444208" y="4889608"/>
              <a:ext cx="21602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Equipped Warehouse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6450070" y="5156501"/>
              <a:ext cx="21602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Trading Operation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6204275" y="5188026"/>
              <a:ext cx="182880" cy="182880"/>
            </a:xfrm>
            <a:prstGeom prst="ellipse">
              <a:avLst/>
            </a:prstGeom>
            <a:solidFill>
              <a:srgbClr val="EEF737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2383972" y="2862942"/>
            <a:ext cx="174172" cy="174171"/>
          </a:xfrm>
          <a:prstGeom prst="ellipse">
            <a:avLst/>
          </a:prstGeom>
          <a:solidFill>
            <a:srgbClr val="FFFF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684800" y="4367573"/>
            <a:ext cx="174172" cy="174171"/>
          </a:xfrm>
          <a:prstGeom prst="ellipse">
            <a:avLst/>
          </a:prstGeom>
          <a:solidFill>
            <a:srgbClr val="FFFF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2688771" y="136100"/>
            <a:ext cx="63191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FEX’s is scaling up its operations to the North Eastern States of Nigeria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" name="Oval 119"/>
          <p:cNvSpPr/>
          <p:nvPr/>
        </p:nvSpPr>
        <p:spPr>
          <a:xfrm>
            <a:off x="882422" y="1958967"/>
            <a:ext cx="174172" cy="174171"/>
          </a:xfrm>
          <a:prstGeom prst="ellipse">
            <a:avLst/>
          </a:prstGeom>
          <a:solidFill>
            <a:srgbClr val="FFFF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6" name="Group 125"/>
          <p:cNvGrpSpPr/>
          <p:nvPr/>
        </p:nvGrpSpPr>
        <p:grpSpPr>
          <a:xfrm>
            <a:off x="242842" y="1848248"/>
            <a:ext cx="5243559" cy="3380611"/>
            <a:chOff x="242842" y="1848248"/>
            <a:chExt cx="5243559" cy="3380611"/>
          </a:xfrm>
        </p:grpSpPr>
        <p:grpSp>
          <p:nvGrpSpPr>
            <p:cNvPr id="122" name="Group 121"/>
            <p:cNvGrpSpPr/>
            <p:nvPr/>
          </p:nvGrpSpPr>
          <p:grpSpPr>
            <a:xfrm>
              <a:off x="2687976" y="1848248"/>
              <a:ext cx="2798425" cy="3380611"/>
              <a:chOff x="2687976" y="1848248"/>
              <a:chExt cx="2798425" cy="3380611"/>
            </a:xfrm>
          </p:grpSpPr>
          <p:sp>
            <p:nvSpPr>
              <p:cNvPr id="112" name="Oval 111"/>
              <p:cNvSpPr/>
              <p:nvPr/>
            </p:nvSpPr>
            <p:spPr>
              <a:xfrm>
                <a:off x="3890507" y="1848248"/>
                <a:ext cx="182880" cy="182880"/>
              </a:xfrm>
              <a:prstGeom prst="ellipse">
                <a:avLst/>
              </a:prstGeom>
              <a:solidFill>
                <a:srgbClr val="EEF737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" name="Isosceles Triangle 3"/>
              <p:cNvSpPr/>
              <p:nvPr/>
            </p:nvSpPr>
            <p:spPr>
              <a:xfrm>
                <a:off x="3276600" y="4278086"/>
                <a:ext cx="141515" cy="195942"/>
              </a:xfrm>
              <a:prstGeom prst="triangle">
                <a:avLst/>
              </a:prstGeom>
              <a:solidFill>
                <a:srgbClr val="FFFF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" name="Oval 4"/>
              <p:cNvSpPr/>
              <p:nvPr/>
            </p:nvSpPr>
            <p:spPr>
              <a:xfrm>
                <a:off x="5312229" y="3309257"/>
                <a:ext cx="174172" cy="174171"/>
              </a:xfrm>
              <a:prstGeom prst="ellipse">
                <a:avLst/>
              </a:prstGeom>
              <a:solidFill>
                <a:srgbClr val="FFFF00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Oval 6"/>
              <p:cNvSpPr/>
              <p:nvPr/>
            </p:nvSpPr>
            <p:spPr>
              <a:xfrm>
                <a:off x="3614058" y="3135086"/>
                <a:ext cx="174172" cy="174171"/>
              </a:xfrm>
              <a:prstGeom prst="ellipse">
                <a:avLst/>
              </a:prstGeom>
              <a:solidFill>
                <a:srgbClr val="FFFF00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687976" y="5054688"/>
                <a:ext cx="174172" cy="174171"/>
              </a:xfrm>
              <a:prstGeom prst="ellipse">
                <a:avLst/>
              </a:prstGeom>
              <a:solidFill>
                <a:srgbClr val="FFFF00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Isosceles Triangle 114"/>
              <p:cNvSpPr/>
              <p:nvPr/>
            </p:nvSpPr>
            <p:spPr>
              <a:xfrm>
                <a:off x="4549599" y="3820922"/>
                <a:ext cx="141515" cy="195942"/>
              </a:xfrm>
              <a:prstGeom prst="triangle">
                <a:avLst/>
              </a:prstGeom>
              <a:solidFill>
                <a:srgbClr val="FFFF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Isosceles Triangle 115"/>
              <p:cNvSpPr/>
              <p:nvPr/>
            </p:nvSpPr>
            <p:spPr>
              <a:xfrm>
                <a:off x="4197835" y="4299757"/>
                <a:ext cx="141515" cy="195942"/>
              </a:xfrm>
              <a:prstGeom prst="triangle">
                <a:avLst/>
              </a:prstGeom>
              <a:solidFill>
                <a:srgbClr val="FFFF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Oval 116"/>
              <p:cNvSpPr/>
              <p:nvPr/>
            </p:nvSpPr>
            <p:spPr>
              <a:xfrm>
                <a:off x="4017315" y="3985200"/>
                <a:ext cx="174172" cy="174171"/>
              </a:xfrm>
              <a:prstGeom prst="ellipse">
                <a:avLst/>
              </a:prstGeom>
              <a:solidFill>
                <a:srgbClr val="FFFF00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Isosceles Triangle 117"/>
              <p:cNvSpPr/>
              <p:nvPr/>
            </p:nvSpPr>
            <p:spPr>
              <a:xfrm>
                <a:off x="3469019" y="4150316"/>
                <a:ext cx="141515" cy="195942"/>
              </a:xfrm>
              <a:prstGeom prst="triangle">
                <a:avLst/>
              </a:prstGeom>
              <a:solidFill>
                <a:srgbClr val="FFFF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Isosceles Triangle 118"/>
              <p:cNvSpPr/>
              <p:nvPr/>
            </p:nvSpPr>
            <p:spPr>
              <a:xfrm>
                <a:off x="4680985" y="2753662"/>
                <a:ext cx="141515" cy="195942"/>
              </a:xfrm>
              <a:prstGeom prst="triangle">
                <a:avLst/>
              </a:prstGeom>
              <a:solidFill>
                <a:srgbClr val="FFFF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23" name="Oval 122"/>
            <p:cNvSpPr/>
            <p:nvPr/>
          </p:nvSpPr>
          <p:spPr>
            <a:xfrm>
              <a:off x="242842" y="4473104"/>
              <a:ext cx="174172" cy="174171"/>
            </a:xfrm>
            <a:prstGeom prst="ellipse">
              <a:avLst/>
            </a:prstGeom>
            <a:solidFill>
              <a:srgbClr val="FFFF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Oval 123"/>
            <p:cNvSpPr/>
            <p:nvPr/>
          </p:nvSpPr>
          <p:spPr>
            <a:xfrm>
              <a:off x="640398" y="4716957"/>
              <a:ext cx="174172" cy="174171"/>
            </a:xfrm>
            <a:prstGeom prst="ellipse">
              <a:avLst/>
            </a:prstGeom>
            <a:solidFill>
              <a:srgbClr val="FFFF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5" name="Oval 124"/>
          <p:cNvSpPr/>
          <p:nvPr/>
        </p:nvSpPr>
        <p:spPr>
          <a:xfrm>
            <a:off x="3143405" y="5401741"/>
            <a:ext cx="174172" cy="174171"/>
          </a:xfrm>
          <a:prstGeom prst="ellipse">
            <a:avLst/>
          </a:prstGeom>
          <a:solidFill>
            <a:srgbClr val="FFFF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" y="131368"/>
            <a:ext cx="2085527" cy="70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789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959005"/>
            <a:ext cx="9144000" cy="5397347"/>
          </a:xfrm>
          <a:prstGeom prst="rect">
            <a:avLst/>
          </a:prstGeom>
          <a:pattFill prst="pct5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3522438"/>
              </p:ext>
            </p:extLst>
          </p:nvPr>
        </p:nvGraphicFramePr>
        <p:xfrm>
          <a:off x="457198" y="1141302"/>
          <a:ext cx="8229602" cy="3203383"/>
        </p:xfrm>
        <a:graphic>
          <a:graphicData uri="http://schemas.openxmlformats.org/drawingml/2006/table">
            <a:tbl>
              <a:tblPr firstRow="1" firstCol="1" bandRow="1" bandCol="1"/>
              <a:tblGrid>
                <a:gridCol w="508171"/>
                <a:gridCol w="2120507"/>
                <a:gridCol w="2441427"/>
                <a:gridCol w="1126813"/>
                <a:gridCol w="508171"/>
                <a:gridCol w="508171"/>
                <a:gridCol w="508171"/>
                <a:gridCol w="508171"/>
              </a:tblGrid>
              <a:tr h="168582">
                <a:tc rowSpan="2" grid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Development Plan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s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Volume Targets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imeline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97045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3 2015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4 2015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1 2016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Q2 2016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18639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0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rading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223837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914400" algn="l"/>
                        </a:tabLs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120,000.00  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6322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1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TC Market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ize, Sorghum, Soybeans, Paddy Ric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0,000.00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</a:tr>
              <a:tr h="35840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2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rward contrac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ize, </a:t>
                      </a:r>
                      <a:endParaRPr lang="en-US" sz="1100" dirty="0" smtClean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ybeans</a:t>
                      </a: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,500.00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6322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3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pot Market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ize, </a:t>
                      </a:r>
                      <a:endParaRPr lang="en-US" sz="1100" dirty="0" smtClean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addy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i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,000.00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</a:tr>
              <a:tr h="36454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4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put Retailing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ertilizer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ain4Fertilizer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,500.00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63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309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.0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orage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ize, Sorghum, Soybeans, Paddy Ri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</a:t>
                      </a: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5,000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</a:tr>
              <a:tr h="1863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lvl="0" algn="r"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309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.0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arehouse Receipt Financing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ize, Sorghum, Soybeans, Paddy Ri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</a:t>
                      </a: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,000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>
                      <a:noFill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45" marR="60545" marT="0" marB="0" anchor="ctr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48235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396552"/>
              </p:ext>
            </p:extLst>
          </p:nvPr>
        </p:nvGraphicFramePr>
        <p:xfrm>
          <a:off x="426357" y="4561000"/>
          <a:ext cx="6766560" cy="1388110"/>
        </p:xfrm>
        <a:graphic>
          <a:graphicData uri="http://schemas.openxmlformats.org/drawingml/2006/table">
            <a:tbl>
              <a:tblPr firstRow="1" firstCol="1" bandRow="1"/>
              <a:tblGrid>
                <a:gridCol w="2507408"/>
                <a:gridCol w="1064788"/>
                <a:gridCol w="1064788"/>
                <a:gridCol w="1064788"/>
                <a:gridCol w="1064788"/>
              </a:tblGrid>
              <a:tr h="3810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s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 Projected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utreach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raders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rket Operations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iz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70,000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15,000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35,000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20,000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ic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20,000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10,000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5,000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5,000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ybeans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10,000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6,000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2,000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2,000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rghum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20,000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5,000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10,000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5,000 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120,000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36,000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52,000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32,000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r="23201"/>
          <a:stretch/>
        </p:blipFill>
        <p:spPr>
          <a:xfrm>
            <a:off x="7304314" y="4659090"/>
            <a:ext cx="1495028" cy="111034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695039" y="161909"/>
            <a:ext cx="63191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FEX 2016 Annual Crop and Product Plan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" y="131368"/>
            <a:ext cx="2085527" cy="70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413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t="4881"/>
          <a:stretch/>
        </p:blipFill>
        <p:spPr>
          <a:xfrm>
            <a:off x="94211" y="1061345"/>
            <a:ext cx="8961120" cy="5217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1386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56" b="665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160869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21"/>
          <a:stretch/>
        </p:blipFill>
        <p:spPr>
          <a:xfrm>
            <a:off x="0" y="857250"/>
            <a:ext cx="9144000" cy="549910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6" name="TextBox 25"/>
          <p:cNvSpPr txBox="1"/>
          <p:nvPr/>
        </p:nvSpPr>
        <p:spPr>
          <a:xfrm>
            <a:off x="2706190" y="160248"/>
            <a:ext cx="63191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 2016, AFEX has traded twice the value and  volume it traded in 2015.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788931" y="1316005"/>
            <a:ext cx="7748049" cy="4939817"/>
            <a:chOff x="788931" y="1094325"/>
            <a:chExt cx="7748049" cy="4939817"/>
          </a:xfrm>
        </p:grpSpPr>
        <p:grpSp>
          <p:nvGrpSpPr>
            <p:cNvPr id="10" name="Group 9"/>
            <p:cNvGrpSpPr/>
            <p:nvPr/>
          </p:nvGrpSpPr>
          <p:grpSpPr>
            <a:xfrm>
              <a:off x="840663" y="1094325"/>
              <a:ext cx="2849147" cy="941621"/>
              <a:chOff x="724808" y="2104117"/>
              <a:chExt cx="2884712" cy="1335769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805543" y="2492829"/>
                <a:ext cx="2743200" cy="94705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cxnSp>
            <p:nvCxnSpPr>
              <p:cNvPr id="7" name="Straight Connector 6"/>
              <p:cNvCxnSpPr/>
              <p:nvPr/>
            </p:nvCxnSpPr>
            <p:spPr>
              <a:xfrm>
                <a:off x="772885" y="2492829"/>
                <a:ext cx="2788920" cy="0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" name="TextBox 7"/>
              <p:cNvSpPr txBox="1"/>
              <p:nvPr/>
            </p:nvSpPr>
            <p:spPr>
              <a:xfrm>
                <a:off x="724808" y="2104117"/>
                <a:ext cx="2884712" cy="3929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Registered Farmers</a:t>
                </a:r>
                <a:endParaRPr lang="en-US" sz="12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805541" y="2601685"/>
                <a:ext cx="2756262" cy="6549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lvl="1" algn="ctr"/>
                <a:r>
                  <a:rPr lang="en-US" sz="2400" dirty="0" smtClean="0">
                    <a:latin typeface="Stencil" panose="040409050D0802020404" pitchFamily="82" charset="0"/>
                  </a:rPr>
                  <a:t>13,000</a:t>
                </a:r>
                <a:endParaRPr lang="en-US" sz="2400" dirty="0">
                  <a:latin typeface="Stencil" panose="040409050D0802020404" pitchFamily="82" charset="0"/>
                </a:endParaRPr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810429" y="5104703"/>
              <a:ext cx="3004584" cy="927624"/>
              <a:chOff x="738991" y="2123973"/>
              <a:chExt cx="3038346" cy="1315913"/>
            </a:xfrm>
          </p:grpSpPr>
          <p:sp>
            <p:nvSpPr>
              <p:cNvPr id="17" name="Rectangle 16"/>
              <p:cNvSpPr/>
              <p:nvPr/>
            </p:nvSpPr>
            <p:spPr>
              <a:xfrm>
                <a:off x="805543" y="2492829"/>
                <a:ext cx="2743200" cy="94705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cxnSp>
            <p:nvCxnSpPr>
              <p:cNvPr id="18" name="Straight Connector 17"/>
              <p:cNvCxnSpPr/>
              <p:nvPr/>
            </p:nvCxnSpPr>
            <p:spPr>
              <a:xfrm>
                <a:off x="772886" y="2492829"/>
                <a:ext cx="2788921" cy="0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Box 18"/>
              <p:cNvSpPr txBox="1"/>
              <p:nvPr/>
            </p:nvSpPr>
            <p:spPr>
              <a:xfrm>
                <a:off x="738991" y="2123973"/>
                <a:ext cx="2872847" cy="3929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Warehouses : Holding Capacity</a:t>
                </a:r>
                <a:endParaRPr lang="en-US" sz="12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772884" y="2601687"/>
                <a:ext cx="3004453" cy="6549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lvl="1" algn="ctr"/>
                <a:r>
                  <a:rPr lang="en-US" sz="2400" dirty="0" smtClean="0">
                    <a:latin typeface="Stencil" panose="040409050D0802020404" pitchFamily="82" charset="0"/>
                  </a:rPr>
                  <a:t>4: 16,000MT</a:t>
                </a:r>
                <a:endParaRPr lang="en-US" sz="2400" dirty="0">
                  <a:latin typeface="Stencil" panose="040409050D0802020404" pitchFamily="82" charset="0"/>
                </a:endParaRP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810429" y="4080874"/>
              <a:ext cx="2804176" cy="1034589"/>
              <a:chOff x="722623" y="2108350"/>
              <a:chExt cx="2839182" cy="1467650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805543" y="2492829"/>
                <a:ext cx="2743200" cy="94705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cxnSp>
            <p:nvCxnSpPr>
              <p:cNvPr id="23" name="Straight Connector 22"/>
              <p:cNvCxnSpPr/>
              <p:nvPr/>
            </p:nvCxnSpPr>
            <p:spPr>
              <a:xfrm>
                <a:off x="772885" y="2492829"/>
                <a:ext cx="2788920" cy="0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TextBox 23"/>
              <p:cNvSpPr txBox="1"/>
              <p:nvPr/>
            </p:nvSpPr>
            <p:spPr>
              <a:xfrm>
                <a:off x="722623" y="2108350"/>
                <a:ext cx="2756262" cy="3929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Grains Handled</a:t>
                </a:r>
                <a:endParaRPr lang="en-US" sz="12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805543" y="2397162"/>
                <a:ext cx="2756262" cy="11788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19063" lvl="1" algn="ctr"/>
                <a:r>
                  <a:rPr lang="en-US" sz="2400" dirty="0" smtClean="0">
                    <a:latin typeface="Stencil" panose="040409050D0802020404" pitchFamily="82" charset="0"/>
                  </a:rPr>
                  <a:t>18,000 MT (9MTHS)</a:t>
                </a:r>
                <a:endParaRPr lang="en-US" sz="2400" dirty="0">
                  <a:latin typeface="Stencil" panose="040409050D0802020404" pitchFamily="82" charset="0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788931" y="3080967"/>
              <a:ext cx="2883919" cy="1038002"/>
              <a:chOff x="672800" y="2109232"/>
              <a:chExt cx="2919548" cy="1472493"/>
            </a:xfrm>
          </p:grpSpPr>
          <p:sp>
            <p:nvSpPr>
              <p:cNvPr id="28" name="Rectangle 27"/>
              <p:cNvSpPr/>
              <p:nvPr/>
            </p:nvSpPr>
            <p:spPr>
              <a:xfrm>
                <a:off x="805543" y="2492829"/>
                <a:ext cx="2743200" cy="94705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cxnSp>
            <p:nvCxnSpPr>
              <p:cNvPr id="29" name="Straight Connector 28"/>
              <p:cNvCxnSpPr/>
              <p:nvPr/>
            </p:nvCxnSpPr>
            <p:spPr>
              <a:xfrm>
                <a:off x="772885" y="2492829"/>
                <a:ext cx="2788920" cy="0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TextBox 29"/>
              <p:cNvSpPr txBox="1"/>
              <p:nvPr/>
            </p:nvSpPr>
            <p:spPr>
              <a:xfrm>
                <a:off x="723899" y="2109232"/>
                <a:ext cx="2756263" cy="3929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Closed Trades</a:t>
                </a:r>
                <a:endParaRPr lang="en-US" sz="12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672800" y="2402886"/>
                <a:ext cx="2919548" cy="11788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19063" lvl="1" algn="ctr"/>
                <a:r>
                  <a:rPr lang="en-US" sz="2400" dirty="0" smtClean="0">
                    <a:latin typeface="Stencil" panose="040409050D0802020404" pitchFamily="82" charset="0"/>
                  </a:rPr>
                  <a:t>$5 mill </a:t>
                </a:r>
              </a:p>
              <a:p>
                <a:pPr marL="119063" lvl="1" algn="ctr"/>
                <a:r>
                  <a:rPr lang="en-US" sz="2400" dirty="0" smtClean="0">
                    <a:latin typeface="Stencil" panose="040409050D0802020404" pitchFamily="82" charset="0"/>
                  </a:rPr>
                  <a:t>(9MTHS)</a:t>
                </a:r>
                <a:endParaRPr lang="en-US" sz="2400" dirty="0">
                  <a:latin typeface="Stencil" panose="040409050D0802020404" pitchFamily="82" charset="0"/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860071" y="2086690"/>
              <a:ext cx="2849147" cy="941621"/>
              <a:chOff x="724808" y="2104117"/>
              <a:chExt cx="2884712" cy="1335769"/>
            </a:xfrm>
          </p:grpSpPr>
          <p:sp>
            <p:nvSpPr>
              <p:cNvPr id="38" name="Rectangle 37"/>
              <p:cNvSpPr/>
              <p:nvPr/>
            </p:nvSpPr>
            <p:spPr>
              <a:xfrm>
                <a:off x="805543" y="2492829"/>
                <a:ext cx="2743200" cy="94705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cxnSp>
            <p:nvCxnSpPr>
              <p:cNvPr id="39" name="Straight Connector 38"/>
              <p:cNvCxnSpPr/>
              <p:nvPr/>
            </p:nvCxnSpPr>
            <p:spPr>
              <a:xfrm>
                <a:off x="772885" y="2492829"/>
                <a:ext cx="2788920" cy="0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TextBox 39"/>
              <p:cNvSpPr txBox="1"/>
              <p:nvPr/>
            </p:nvSpPr>
            <p:spPr>
              <a:xfrm>
                <a:off x="724808" y="2104117"/>
                <a:ext cx="2884712" cy="3929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Farmers Transacted - Grains</a:t>
                </a:r>
                <a:endParaRPr lang="en-US" sz="12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805541" y="2601685"/>
                <a:ext cx="2756262" cy="6549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lvl="1" algn="ctr"/>
                <a:r>
                  <a:rPr lang="en-US" sz="2400" dirty="0">
                    <a:latin typeface="Stencil" panose="040409050D0802020404" pitchFamily="82" charset="0"/>
                  </a:rPr>
                  <a:t>6</a:t>
                </a:r>
                <a:r>
                  <a:rPr lang="en-US" sz="2400" dirty="0" smtClean="0">
                    <a:latin typeface="Stencil" panose="040409050D0802020404" pitchFamily="82" charset="0"/>
                  </a:rPr>
                  <a:t>00 (9 </a:t>
                </a:r>
                <a:r>
                  <a:rPr lang="en-US" sz="2400" dirty="0" err="1" smtClean="0">
                    <a:latin typeface="Stencil" panose="040409050D0802020404" pitchFamily="82" charset="0"/>
                  </a:rPr>
                  <a:t>mths</a:t>
                </a:r>
                <a:r>
                  <a:rPr lang="en-US" sz="2400" dirty="0" smtClean="0">
                    <a:latin typeface="Stencil" panose="040409050D0802020404" pitchFamily="82" charset="0"/>
                  </a:rPr>
                  <a:t>)</a:t>
                </a:r>
                <a:endParaRPr lang="en-US" sz="2400" dirty="0">
                  <a:latin typeface="Stencil" panose="040409050D0802020404" pitchFamily="82" charset="0"/>
                </a:endParaRPr>
              </a:p>
            </p:txBody>
          </p:sp>
        </p:grpSp>
        <p:sp>
          <p:nvSpPr>
            <p:cNvPr id="4" name="Right Arrow 3"/>
            <p:cNvSpPr/>
            <p:nvPr/>
          </p:nvSpPr>
          <p:spPr>
            <a:xfrm>
              <a:off x="4372114" y="1477417"/>
              <a:ext cx="665399" cy="4532459"/>
            </a:xfrm>
            <a:prstGeom prst="rightArrow">
              <a:avLst>
                <a:gd name="adj1" fmla="val 85458"/>
                <a:gd name="adj2" fmla="val 50000"/>
              </a:avLst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5562630" y="1096140"/>
              <a:ext cx="2849147" cy="941621"/>
              <a:chOff x="724808" y="2104117"/>
              <a:chExt cx="2884712" cy="1335769"/>
            </a:xfrm>
          </p:grpSpPr>
          <p:sp>
            <p:nvSpPr>
              <p:cNvPr id="68" name="Rectangle 67"/>
              <p:cNvSpPr/>
              <p:nvPr/>
            </p:nvSpPr>
            <p:spPr>
              <a:xfrm>
                <a:off x="805543" y="2492829"/>
                <a:ext cx="2743200" cy="94705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cxnSp>
            <p:nvCxnSpPr>
              <p:cNvPr id="69" name="Straight Connector 68"/>
              <p:cNvCxnSpPr/>
              <p:nvPr/>
            </p:nvCxnSpPr>
            <p:spPr>
              <a:xfrm>
                <a:off x="772885" y="2492829"/>
                <a:ext cx="2788920" cy="0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" name="TextBox 69"/>
              <p:cNvSpPr txBox="1"/>
              <p:nvPr/>
            </p:nvSpPr>
            <p:spPr>
              <a:xfrm>
                <a:off x="724808" y="2104117"/>
                <a:ext cx="2884712" cy="3929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Registered Farmers</a:t>
                </a:r>
                <a:endParaRPr lang="en-US" sz="12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71" name="TextBox 70"/>
              <p:cNvSpPr txBox="1"/>
              <p:nvPr/>
            </p:nvSpPr>
            <p:spPr>
              <a:xfrm>
                <a:off x="805541" y="2601685"/>
                <a:ext cx="2756262" cy="6549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lvl="1" algn="ctr"/>
                <a:r>
                  <a:rPr lang="en-US" sz="2400" dirty="0" smtClean="0">
                    <a:latin typeface="Stencil" panose="040409050D0802020404" pitchFamily="82" charset="0"/>
                  </a:rPr>
                  <a:t>45,000</a:t>
                </a:r>
                <a:endParaRPr lang="en-US" sz="2400" dirty="0">
                  <a:latin typeface="Stencil" panose="040409050D0802020404" pitchFamily="82" charset="0"/>
                </a:endParaRPr>
              </a:p>
            </p:txBody>
          </p:sp>
        </p:grpSp>
        <p:grpSp>
          <p:nvGrpSpPr>
            <p:cNvPr id="72" name="Group 71"/>
            <p:cNvGrpSpPr/>
            <p:nvPr/>
          </p:nvGrpSpPr>
          <p:grpSpPr>
            <a:xfrm>
              <a:off x="5532396" y="5106518"/>
              <a:ext cx="3004584" cy="927624"/>
              <a:chOff x="738991" y="2123973"/>
              <a:chExt cx="3038346" cy="1315913"/>
            </a:xfrm>
          </p:grpSpPr>
          <p:sp>
            <p:nvSpPr>
              <p:cNvPr id="73" name="Rectangle 72"/>
              <p:cNvSpPr/>
              <p:nvPr/>
            </p:nvSpPr>
            <p:spPr>
              <a:xfrm>
                <a:off x="805543" y="2492829"/>
                <a:ext cx="2743200" cy="94705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cxnSp>
            <p:nvCxnSpPr>
              <p:cNvPr id="74" name="Straight Connector 73"/>
              <p:cNvCxnSpPr/>
              <p:nvPr/>
            </p:nvCxnSpPr>
            <p:spPr>
              <a:xfrm>
                <a:off x="772886" y="2492829"/>
                <a:ext cx="2788921" cy="0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Box 74"/>
              <p:cNvSpPr txBox="1"/>
              <p:nvPr/>
            </p:nvSpPr>
            <p:spPr>
              <a:xfrm>
                <a:off x="738991" y="2123973"/>
                <a:ext cx="2872847" cy="3929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Warehouses: Holding Capacity</a:t>
                </a:r>
                <a:endParaRPr lang="en-US" sz="12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772884" y="2601687"/>
                <a:ext cx="3004453" cy="6549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lvl="1" algn="ctr"/>
                <a:r>
                  <a:rPr lang="en-US" sz="2400" dirty="0" smtClean="0">
                    <a:latin typeface="Stencil" panose="040409050D0802020404" pitchFamily="82" charset="0"/>
                  </a:rPr>
                  <a:t>18: 70,000MT</a:t>
                </a:r>
                <a:endParaRPr lang="en-US" sz="2400" dirty="0">
                  <a:latin typeface="Stencil" panose="040409050D0802020404" pitchFamily="82" charset="0"/>
                </a:endParaRP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>
              <a:off x="5532396" y="4082689"/>
              <a:ext cx="2804176" cy="1034589"/>
              <a:chOff x="722623" y="2108350"/>
              <a:chExt cx="2839182" cy="1467650"/>
            </a:xfrm>
          </p:grpSpPr>
          <p:sp>
            <p:nvSpPr>
              <p:cNvPr id="78" name="Rectangle 77"/>
              <p:cNvSpPr/>
              <p:nvPr/>
            </p:nvSpPr>
            <p:spPr>
              <a:xfrm>
                <a:off x="805543" y="2492829"/>
                <a:ext cx="2743200" cy="94705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cxnSp>
            <p:nvCxnSpPr>
              <p:cNvPr id="79" name="Straight Connector 78"/>
              <p:cNvCxnSpPr/>
              <p:nvPr/>
            </p:nvCxnSpPr>
            <p:spPr>
              <a:xfrm>
                <a:off x="772885" y="2492829"/>
                <a:ext cx="2788920" cy="0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TextBox 79"/>
              <p:cNvSpPr txBox="1"/>
              <p:nvPr/>
            </p:nvSpPr>
            <p:spPr>
              <a:xfrm>
                <a:off x="722623" y="2108350"/>
                <a:ext cx="2756262" cy="3929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Grains Handled</a:t>
                </a:r>
                <a:endParaRPr lang="en-US" sz="12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81" name="TextBox 80"/>
              <p:cNvSpPr txBox="1"/>
              <p:nvPr/>
            </p:nvSpPr>
            <p:spPr>
              <a:xfrm>
                <a:off x="805543" y="2397162"/>
                <a:ext cx="2756262" cy="11788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19063" lvl="1" algn="ctr"/>
                <a:r>
                  <a:rPr lang="en-US" sz="2400" dirty="0" smtClean="0">
                    <a:latin typeface="Stencil" panose="040409050D0802020404" pitchFamily="82" charset="0"/>
                  </a:rPr>
                  <a:t>45,000 </a:t>
                </a:r>
                <a:r>
                  <a:rPr lang="en-US" sz="2400" dirty="0" smtClean="0">
                    <a:latin typeface="Stencil" panose="040409050D0802020404" pitchFamily="82" charset="0"/>
                  </a:rPr>
                  <a:t>MT (3MTHS)</a:t>
                </a:r>
                <a:endParaRPr lang="en-US" sz="2400" dirty="0">
                  <a:latin typeface="Stencil" panose="040409050D0802020404" pitchFamily="82" charset="0"/>
                </a:endParaRPr>
              </a:p>
            </p:txBody>
          </p:sp>
        </p:grpSp>
        <p:grpSp>
          <p:nvGrpSpPr>
            <p:cNvPr id="82" name="Group 81"/>
            <p:cNvGrpSpPr/>
            <p:nvPr/>
          </p:nvGrpSpPr>
          <p:grpSpPr>
            <a:xfrm>
              <a:off x="5480728" y="3082782"/>
              <a:ext cx="2883919" cy="1031371"/>
              <a:chOff x="642257" y="2109232"/>
              <a:chExt cx="2919548" cy="1463086"/>
            </a:xfrm>
          </p:grpSpPr>
          <p:sp>
            <p:nvSpPr>
              <p:cNvPr id="83" name="Rectangle 82"/>
              <p:cNvSpPr/>
              <p:nvPr/>
            </p:nvSpPr>
            <p:spPr>
              <a:xfrm>
                <a:off x="805543" y="2492829"/>
                <a:ext cx="2743200" cy="94705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cxnSp>
            <p:nvCxnSpPr>
              <p:cNvPr id="84" name="Straight Connector 83"/>
              <p:cNvCxnSpPr/>
              <p:nvPr/>
            </p:nvCxnSpPr>
            <p:spPr>
              <a:xfrm>
                <a:off x="772885" y="2492829"/>
                <a:ext cx="2788920" cy="0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TextBox 84"/>
              <p:cNvSpPr txBox="1"/>
              <p:nvPr/>
            </p:nvSpPr>
            <p:spPr>
              <a:xfrm>
                <a:off x="723899" y="2109232"/>
                <a:ext cx="2756263" cy="3929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Closed Trades</a:t>
                </a:r>
                <a:endParaRPr lang="en-US" sz="12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86" name="TextBox 85"/>
              <p:cNvSpPr txBox="1"/>
              <p:nvPr/>
            </p:nvSpPr>
            <p:spPr>
              <a:xfrm>
                <a:off x="642257" y="2393479"/>
                <a:ext cx="2919548" cy="11788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19063" lvl="1" algn="ctr"/>
                <a:r>
                  <a:rPr lang="en-US" sz="2400" dirty="0" smtClean="0">
                    <a:latin typeface="Stencil" panose="040409050D0802020404" pitchFamily="82" charset="0"/>
                  </a:rPr>
                  <a:t>$</a:t>
                </a:r>
                <a:r>
                  <a:rPr lang="en-US" sz="2400" dirty="0" smtClean="0">
                    <a:latin typeface="Stencil" panose="040409050D0802020404" pitchFamily="82" charset="0"/>
                  </a:rPr>
                  <a:t>15 </a:t>
                </a:r>
                <a:r>
                  <a:rPr lang="en-US" sz="2400" dirty="0" smtClean="0">
                    <a:latin typeface="Stencil" panose="040409050D0802020404" pitchFamily="82" charset="0"/>
                  </a:rPr>
                  <a:t>mill (3mths)</a:t>
                </a:r>
                <a:endParaRPr lang="en-US" sz="2400" dirty="0">
                  <a:latin typeface="Stencil" panose="040409050D0802020404" pitchFamily="82" charset="0"/>
                </a:endParaRPr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>
              <a:off x="5582038" y="2088505"/>
              <a:ext cx="2849147" cy="941621"/>
              <a:chOff x="724808" y="2104117"/>
              <a:chExt cx="2884712" cy="1335769"/>
            </a:xfrm>
          </p:grpSpPr>
          <p:sp>
            <p:nvSpPr>
              <p:cNvPr id="88" name="Rectangle 87"/>
              <p:cNvSpPr/>
              <p:nvPr/>
            </p:nvSpPr>
            <p:spPr>
              <a:xfrm>
                <a:off x="805543" y="2492829"/>
                <a:ext cx="2743200" cy="94705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cxnSp>
            <p:nvCxnSpPr>
              <p:cNvPr id="89" name="Straight Connector 88"/>
              <p:cNvCxnSpPr/>
              <p:nvPr/>
            </p:nvCxnSpPr>
            <p:spPr>
              <a:xfrm>
                <a:off x="772885" y="2492829"/>
                <a:ext cx="2788920" cy="0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TextBox 89"/>
              <p:cNvSpPr txBox="1"/>
              <p:nvPr/>
            </p:nvSpPr>
            <p:spPr>
              <a:xfrm>
                <a:off x="724808" y="2104117"/>
                <a:ext cx="2884712" cy="3929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 smtClean="0">
                    <a:solidFill>
                      <a:srgbClr val="FF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Farmers Transacted - Grains</a:t>
                </a:r>
                <a:endParaRPr lang="en-US" sz="1200" b="1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91" name="TextBox 90"/>
              <p:cNvSpPr txBox="1"/>
              <p:nvPr/>
            </p:nvSpPr>
            <p:spPr>
              <a:xfrm>
                <a:off x="805541" y="2601685"/>
                <a:ext cx="2756262" cy="6549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28600" lvl="1" algn="ctr"/>
                <a:r>
                  <a:rPr lang="en-US" sz="2400" dirty="0" smtClean="0">
                    <a:latin typeface="Stencil" panose="040409050D0802020404" pitchFamily="82" charset="0"/>
                  </a:rPr>
                  <a:t>5,0</a:t>
                </a:r>
                <a:r>
                  <a:rPr lang="en-US" sz="2400" dirty="0" smtClean="0">
                    <a:latin typeface="Stencil" panose="040409050D0802020404" pitchFamily="82" charset="0"/>
                  </a:rPr>
                  <a:t>00 </a:t>
                </a:r>
                <a:r>
                  <a:rPr lang="en-US" sz="2400" dirty="0" smtClean="0">
                    <a:latin typeface="Stencil" panose="040409050D0802020404" pitchFamily="82" charset="0"/>
                  </a:rPr>
                  <a:t>(3 </a:t>
                </a:r>
                <a:r>
                  <a:rPr lang="en-US" sz="2400" dirty="0" err="1" smtClean="0">
                    <a:latin typeface="Stencil" panose="040409050D0802020404" pitchFamily="82" charset="0"/>
                  </a:rPr>
                  <a:t>mths</a:t>
                </a:r>
                <a:r>
                  <a:rPr lang="en-US" sz="2400" dirty="0" smtClean="0">
                    <a:latin typeface="Stencil" panose="040409050D0802020404" pitchFamily="82" charset="0"/>
                  </a:rPr>
                  <a:t>)</a:t>
                </a:r>
                <a:endParaRPr lang="en-US" sz="2400" dirty="0">
                  <a:latin typeface="Stencil" panose="040409050D0802020404" pitchFamily="82" charset="0"/>
                </a:endParaRPr>
              </a:p>
            </p:txBody>
          </p:sp>
        </p:grpSp>
      </p:grpSp>
      <p:sp>
        <p:nvSpPr>
          <p:cNvPr id="11" name="TextBox 10"/>
          <p:cNvSpPr txBox="1"/>
          <p:nvPr/>
        </p:nvSpPr>
        <p:spPr>
          <a:xfrm>
            <a:off x="907555" y="934000"/>
            <a:ext cx="27652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ear 2015</a:t>
            </a:r>
            <a:endParaRPr lang="en-US" b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562231" y="896516"/>
            <a:ext cx="27652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anuary – March  2016</a:t>
            </a:r>
            <a:endParaRPr lang="en-US" b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" y="131368"/>
            <a:ext cx="2085527" cy="70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492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076" r="827" b="50017"/>
          <a:stretch/>
        </p:blipFill>
        <p:spPr>
          <a:xfrm>
            <a:off x="445272" y="961759"/>
            <a:ext cx="8400553" cy="5297942"/>
          </a:xfrm>
          <a:prstGeom prst="roundRect">
            <a:avLst>
              <a:gd name="adj" fmla="val 8808"/>
            </a:avLst>
          </a:prstGeom>
        </p:spPr>
      </p:pic>
      <p:sp>
        <p:nvSpPr>
          <p:cNvPr id="4" name="TextBox 3"/>
          <p:cNvSpPr txBox="1"/>
          <p:nvPr/>
        </p:nvSpPr>
        <p:spPr>
          <a:xfrm>
            <a:off x="2776756" y="360727"/>
            <a:ext cx="60690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chemeClr val="bg1"/>
                </a:solidFill>
              </a:rPr>
              <a:t>Prepaid Cards as Veritable means of Payment</a:t>
            </a:r>
            <a:endParaRPr lang="en-GB" sz="2000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" y="131368"/>
            <a:ext cx="2085527" cy="70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9003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781" y="1139462"/>
            <a:ext cx="2939228" cy="488941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1212" y="1139462"/>
            <a:ext cx="2939228" cy="488941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88642" y="1139462"/>
            <a:ext cx="2939228" cy="488941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860646" y="234892"/>
            <a:ext cx="57296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chemeClr val="bg1"/>
                </a:solidFill>
              </a:rPr>
              <a:t>Mobile </a:t>
            </a:r>
            <a:r>
              <a:rPr lang="en-GB" sz="2000" dirty="0">
                <a:solidFill>
                  <a:schemeClr val="bg1"/>
                </a:solidFill>
              </a:rPr>
              <a:t>A</a:t>
            </a:r>
            <a:r>
              <a:rPr lang="en-GB" sz="2000" dirty="0" smtClean="0">
                <a:solidFill>
                  <a:schemeClr val="bg1"/>
                </a:solidFill>
              </a:rPr>
              <a:t>pplication Development </a:t>
            </a:r>
            <a:endParaRPr lang="en-GB" sz="200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" y="131368"/>
            <a:ext cx="2085527" cy="70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969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213" y="1016899"/>
            <a:ext cx="8875867" cy="51435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" y="131368"/>
            <a:ext cx="2085527" cy="70910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617364" y="201336"/>
            <a:ext cx="64047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chemeClr val="bg1"/>
                </a:solidFill>
              </a:rPr>
              <a:t>Increased Stakeholder Outreach and Capacity Building </a:t>
            </a:r>
            <a:endParaRPr lang="en-GB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358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r="3939"/>
          <a:stretch/>
        </p:blipFill>
        <p:spPr>
          <a:xfrm>
            <a:off x="177338" y="1051386"/>
            <a:ext cx="8783782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" y="131368"/>
            <a:ext cx="2085527" cy="70910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659311" y="285226"/>
            <a:ext cx="63018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chemeClr val="bg1"/>
                </a:solidFill>
              </a:rPr>
              <a:t>State </a:t>
            </a:r>
            <a:r>
              <a:rPr lang="en-GB" sz="2000" dirty="0">
                <a:solidFill>
                  <a:schemeClr val="bg1"/>
                </a:solidFill>
              </a:rPr>
              <a:t>L</a:t>
            </a:r>
            <a:r>
              <a:rPr lang="en-GB" sz="2000" dirty="0" smtClean="0">
                <a:solidFill>
                  <a:schemeClr val="bg1"/>
                </a:solidFill>
              </a:rPr>
              <a:t>evel Collaboration on Agric. Development </a:t>
            </a:r>
            <a:endParaRPr lang="en-GB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673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2016 Season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7027" y="5617768"/>
            <a:ext cx="2085527" cy="70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623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35307"/>
            <a:ext cx="9144000" cy="544319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717207" y="172210"/>
            <a:ext cx="631915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ale up Grain4Fertilizer Input Program from 2,000 farmers in </a:t>
            </a:r>
            <a:r>
              <a:rPr lang="en-US" sz="19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</a:t>
            </a:r>
            <a:r>
              <a:rPr lang="en-US" sz="19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ar 2015 to 15,000 farmers </a:t>
            </a:r>
            <a:endParaRPr lang="en-US" sz="19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" y="131368"/>
            <a:ext cx="2085527" cy="70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80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-2" y="946151"/>
            <a:ext cx="9144002" cy="5410201"/>
            <a:chOff x="-2" y="946151"/>
            <a:chExt cx="9144002" cy="5410201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" y="946151"/>
              <a:ext cx="9144002" cy="5410201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61119">
              <a:off x="6660018" y="3293723"/>
              <a:ext cx="369164" cy="157048"/>
            </a:xfrm>
            <a:prstGeom prst="rect">
              <a:avLst/>
            </a:prstGeom>
          </p:spPr>
        </p:pic>
      </p:grpSp>
      <p:sp>
        <p:nvSpPr>
          <p:cNvPr id="6" name="TextBox 5"/>
          <p:cNvSpPr txBox="1"/>
          <p:nvPr/>
        </p:nvSpPr>
        <p:spPr>
          <a:xfrm>
            <a:off x="2706190" y="160248"/>
            <a:ext cx="63191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entral Bank Anchor Borrower Scheme for 4,000 Farmers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" y="131368"/>
            <a:ext cx="2085527" cy="709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330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5MJdymoU.zN.FWfRq3L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Fpc9s7uEGVe6P40l4b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ZgRLAVhkuBds0o4gK9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JuFCmKJUWQ.a_SYcN5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WEuER3GEm5zW1fCk9i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DCjPBxkq1p5EA11.1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9FUtLzp0GejStjitpd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XM_fcmV0qPfLxeHXuD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VBaZnWfU6Ca6T58vzU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HVe40QAEOZPdXb2OCx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sfuUtrt06b0mEjQu6h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vPe0Qh90Ki0Y_pyY1o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MZBGslHEuZcbeXyTSs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U8XmWNVEKeMJIkUH.G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ePkbmX5Ea.kx3NVDW8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YcSB.G0iQuQe6TwZp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M4_gm3nkOiZ65tZ4FIM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BBG_sOnEiwrIcae3uA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5hijpXDMkOoMz1QcsWY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SiWsIPr0OBLSxCNmTNp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hfClNjV0WqoATgVumC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ILjewTQ0OALH4V4_wO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6yFY9uhUuIRxbvD.LD4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Ir9F4_CE6Zza0vqHAC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ZlEuFWJ0iXuHwRiGEU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3kYNvn10yEWZYCy1_IT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45F0KOtUKO1zsxDTFU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hBF1Sjf0ysRHo8GZuzb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L8VtLu5UyHhDiOxuKU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.gwxjOFUGZH5tvuDC2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QKeDgnDE.eJ6A16Qmr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4Drc_vN0mU.A3InKvT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013jydXkK3aPN140Rd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2eGdJKjEuSiLzHXd8mp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2c6HdjzUeGtI4UuWur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NBDsGJvkuYBzLNsZrC_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LV_LBLsU2AEvbxyuHG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Qzarj_bUaHvlPJ_Ltr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_MGXa2BEa7.tY4Fier1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ktgFor8kO_Aw77Prfsr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NBDsGJvkuYBzLNsZrC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XXUeG.LEKoYd1aNgSG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DjO443UKZ4fM_Vivd5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q3MFtn6E25qp7.htn1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C9olbEQUy9usVvIJtw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.RPbw4YkeY0UJOAjmV2g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35</TotalTime>
  <Words>476</Words>
  <Application>Microsoft Office PowerPoint</Application>
  <PresentationFormat>On-screen Show (4:3)</PresentationFormat>
  <Paragraphs>193</Paragraphs>
  <Slides>1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entury Gothic</vt:lpstr>
      <vt:lpstr>Stencil</vt:lpstr>
      <vt:lpstr>Times New Roman</vt:lpstr>
      <vt:lpstr>Wingdings</vt:lpstr>
      <vt:lpstr>2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State Partnership Objectives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'Dejavuu</dc:creator>
  <cp:lastModifiedBy>'Dejavuu</cp:lastModifiedBy>
  <cp:revision>117</cp:revision>
  <cp:lastPrinted>2015-08-15T13:45:59Z</cp:lastPrinted>
  <dcterms:created xsi:type="dcterms:W3CDTF">2014-05-19T09:06:31Z</dcterms:created>
  <dcterms:modified xsi:type="dcterms:W3CDTF">2016-04-13T07:34:22Z</dcterms:modified>
</cp:coreProperties>
</file>